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28.xml" ContentType="application/vnd.openxmlformats-officedocument.presentationml.tags+xml"/>
  <Override PartName="/ppt/tags/tag4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61" r:id="rId2"/>
  </p:sldMasterIdLst>
  <p:notesMasterIdLst>
    <p:notesMasterId r:id="rId15"/>
  </p:notesMasterIdLst>
  <p:sldIdLst>
    <p:sldId id="405" r:id="rId3"/>
    <p:sldId id="418" r:id="rId4"/>
    <p:sldId id="386" r:id="rId5"/>
    <p:sldId id="408" r:id="rId6"/>
    <p:sldId id="409" r:id="rId7"/>
    <p:sldId id="410" r:id="rId8"/>
    <p:sldId id="413" r:id="rId9"/>
    <p:sldId id="414" r:id="rId10"/>
    <p:sldId id="415" r:id="rId11"/>
    <p:sldId id="407" r:id="rId12"/>
    <p:sldId id="416" r:id="rId13"/>
    <p:sldId id="406" r:id="rId14"/>
  </p:sldIdLst>
  <p:sldSz cx="17340263" cy="9753600"/>
  <p:notesSz cx="6797675" cy="9872663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54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itor Ballestero" initials="AB" lastIdx="1" clrIdx="0">
    <p:extLst>
      <p:ext uri="{19B8F6BF-5375-455C-9EA6-DF929625EA0E}">
        <p15:presenceInfo xmlns:p15="http://schemas.microsoft.com/office/powerpoint/2012/main" userId="S-1-5-21-3737520725-3319238319-2448381735-17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E36"/>
    <a:srgbClr val="FFCCFF"/>
    <a:srgbClr val="FFEFFF"/>
    <a:srgbClr val="CC34CC"/>
    <a:srgbClr val="34373B"/>
    <a:srgbClr val="8BA4B0"/>
    <a:srgbClr val="6947FF"/>
    <a:srgbClr val="C3B5FF"/>
    <a:srgbClr val="FF99FF"/>
    <a:srgbClr val="191C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247" autoAdjust="0"/>
  </p:normalViewPr>
  <p:slideViewPr>
    <p:cSldViewPr snapToGrid="0" snapToObjects="1">
      <p:cViewPr varScale="1">
        <p:scale>
          <a:sx n="44" d="100"/>
          <a:sy n="44" d="100"/>
        </p:scale>
        <p:origin x="788" y="48"/>
      </p:cViewPr>
      <p:guideLst>
        <p:guide orient="horz" pos="3072"/>
        <p:guide pos="546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customXml" Target="../customXml/item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hape 116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7950" y="739775"/>
            <a:ext cx="6581775" cy="37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12291" name="Shape 117"/>
          <p:cNvSpPr>
            <a:spLocks noGrp="1"/>
          </p:cNvSpPr>
          <p:nvPr>
            <p:ph type="body" sz="quarter" idx="1"/>
          </p:nvPr>
        </p:nvSpPr>
        <p:spPr bwMode="auto">
          <a:xfrm>
            <a:off x="906357" y="4689515"/>
            <a:ext cx="4984962" cy="4442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"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100336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lnSpc>
        <a:spcPct val="118000"/>
      </a:lnSpc>
      <a:spcBef>
        <a:spcPct val="30000"/>
      </a:spcBef>
      <a:spcAft>
        <a:spcPct val="0"/>
      </a:spcAft>
      <a:defRPr sz="2200">
        <a:solidFill>
          <a:schemeClr val="tx1"/>
        </a:solidFill>
        <a:latin typeface="Helvetica Neue"/>
        <a:ea typeface="Helvetica Neue"/>
        <a:cs typeface="Helvetica Neue"/>
        <a:sym typeface="Helvetica Neue"/>
      </a:defRPr>
    </a:lvl1pPr>
    <a:lvl2pPr marL="742950" indent="-285750" algn="l" defTabSz="457200" rtl="0" eaLnBrk="0" fontAlgn="base" hangingPunct="0">
      <a:lnSpc>
        <a:spcPct val="118000"/>
      </a:lnSpc>
      <a:spcBef>
        <a:spcPct val="30000"/>
      </a:spcBef>
      <a:spcAft>
        <a:spcPct val="0"/>
      </a:spcAft>
      <a:defRPr sz="2200">
        <a:solidFill>
          <a:schemeClr val="tx1"/>
        </a:solidFill>
        <a:latin typeface="Helvetica Neue"/>
        <a:ea typeface="Helvetica Neue"/>
        <a:cs typeface="Helvetica Neue"/>
        <a:sym typeface="Helvetica Neue"/>
      </a:defRPr>
    </a:lvl2pPr>
    <a:lvl3pPr marL="1143000" indent="-228600" algn="l" defTabSz="457200" rtl="0" eaLnBrk="0" fontAlgn="base" hangingPunct="0">
      <a:lnSpc>
        <a:spcPct val="118000"/>
      </a:lnSpc>
      <a:spcBef>
        <a:spcPct val="30000"/>
      </a:spcBef>
      <a:spcAft>
        <a:spcPct val="0"/>
      </a:spcAft>
      <a:defRPr sz="2200">
        <a:solidFill>
          <a:schemeClr val="tx1"/>
        </a:solidFill>
        <a:latin typeface="Helvetica Neue"/>
        <a:ea typeface="Helvetica Neue"/>
        <a:cs typeface="Helvetica Neue"/>
        <a:sym typeface="Helvetica Neue"/>
      </a:defRPr>
    </a:lvl3pPr>
    <a:lvl4pPr marL="1600200" indent="-228600" algn="l" defTabSz="457200" rtl="0" eaLnBrk="0" fontAlgn="base" hangingPunct="0">
      <a:lnSpc>
        <a:spcPct val="118000"/>
      </a:lnSpc>
      <a:spcBef>
        <a:spcPct val="30000"/>
      </a:spcBef>
      <a:spcAft>
        <a:spcPct val="0"/>
      </a:spcAft>
      <a:defRPr sz="2200">
        <a:solidFill>
          <a:schemeClr val="tx1"/>
        </a:solidFill>
        <a:latin typeface="Helvetica Neue"/>
        <a:ea typeface="Helvetica Neue"/>
        <a:cs typeface="Helvetica Neue"/>
        <a:sym typeface="Helvetica Neue"/>
      </a:defRPr>
    </a:lvl4pPr>
    <a:lvl5pPr marL="2057400" indent="-228600" algn="l" defTabSz="457200" rtl="0" eaLnBrk="0" fontAlgn="base" hangingPunct="0">
      <a:lnSpc>
        <a:spcPct val="118000"/>
      </a:lnSpc>
      <a:spcBef>
        <a:spcPct val="30000"/>
      </a:spcBef>
      <a:spcAft>
        <a:spcPct val="0"/>
      </a:spcAft>
      <a:defRPr sz="2200">
        <a:solidFill>
          <a:schemeClr val="tx1"/>
        </a:solidFill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5663D-EBBF-AE20-F7B9-44D84DFD3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1149834-6878-B699-B155-674C11646F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BFB18B3-1A80-B58F-0BF5-1A8A8423FA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09592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190068-880B-10F0-21E3-0E72FBB7F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2E1BDA6-8785-EE8F-0378-0A1C5B81A6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AA21E78-6DC6-EA38-D021-81B7EB8BBD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64805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200" rtl="0" eaLnBrk="0" fontAlgn="base" latinLnBrk="0" hangingPunct="0">
              <a:lnSpc>
                <a:spcPct val="107000"/>
              </a:lnSpc>
              <a:spcBef>
                <a:spcPct val="300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3839177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68662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ES" sz="2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0411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40954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1642718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638091-B3F3-F388-C909-7A80305F5D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75B2AF3-90CB-A78A-3082-25F6A3006E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D1BEEBC-C9B3-56A0-ACB6-88293290C1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1126139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9A6D5-0EC6-EF3A-DDD9-C1B5E7B8B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2FB383CB-FD40-B333-7EFC-5C5FD481DC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E53DC75-BB08-21FE-1E8A-E9412ED41B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22138159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62910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linkedin.com/company/620508" TargetMode="External"/><Relationship Id="rId7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s://twitter.com/MafexSpain?ref_src=twsrc%5Egoogle%7Ctwcamp%5Eserp%7Ctwgr%5Eauthor" TargetMode="External"/><Relationship Id="rId4" Type="http://schemas.openxmlformats.org/officeDocument/2006/relationships/hyperlink" Target="http://www.mafex.es/" TargetMode="Externa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7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 -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Stock-696321458_SinAmarillo.jpg" descr="iStock-696321458_SinAmarillo.jpg">
            <a:extLst>
              <a:ext uri="{FF2B5EF4-FFF2-40B4-BE49-F238E27FC236}">
                <a16:creationId xmlns:a16="http://schemas.microsoft.com/office/drawing/2014/main" id="{5F35D2AE-24E7-C6E3-8D6A-0C7AD5CDAA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1912958" cy="9753600"/>
          </a:xfrm>
          <a:prstGeom prst="rect">
            <a:avLst/>
          </a:prstGeom>
          <a:ln w="3175">
            <a:miter lim="400000"/>
          </a:ln>
        </p:spPr>
      </p:pic>
      <p:pic>
        <p:nvPicPr>
          <p:cNvPr id="5" name="Imagen" descr="Imagen">
            <a:extLst>
              <a:ext uri="{FF2B5EF4-FFF2-40B4-BE49-F238E27FC236}">
                <a16:creationId xmlns:a16="http://schemas.microsoft.com/office/drawing/2014/main" id="{FF8E9FCD-7239-54F8-0039-E2A0E19740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83688" y="6645500"/>
            <a:ext cx="11956576" cy="2060618"/>
          </a:xfrm>
          <a:prstGeom prst="rect">
            <a:avLst/>
          </a:prstGeom>
          <a:ln w="3175">
            <a:miter lim="400000"/>
          </a:ln>
        </p:spPr>
      </p:pic>
      <p:sp>
        <p:nvSpPr>
          <p:cNvPr id="21" name="Marcador de contenido 10">
            <a:extLst>
              <a:ext uri="{FF2B5EF4-FFF2-40B4-BE49-F238E27FC236}">
                <a16:creationId xmlns:a16="http://schemas.microsoft.com/office/drawing/2014/main" id="{97200E42-15B3-46BE-9EA0-E2E78BA4E17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47625" y="6920252"/>
            <a:ext cx="6480198" cy="72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584200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s-ES" sz="4400" b="1" kern="1200" dirty="0">
                <a:solidFill>
                  <a:srgbClr val="FFFFFF"/>
                </a:solidFill>
                <a:latin typeface="Arial"/>
                <a:ea typeface="Arial"/>
                <a:cs typeface="Arial"/>
                <a:sym typeface="Helvetica Light"/>
              </a:defRPr>
            </a:lvl1pPr>
          </a:lstStyle>
          <a:p>
            <a:r>
              <a:rPr lang="es-ES" dirty="0"/>
              <a:t>Título</a:t>
            </a:r>
          </a:p>
        </p:txBody>
      </p:sp>
      <p:sp>
        <p:nvSpPr>
          <p:cNvPr id="22" name="Marcador de contenido 10">
            <a:extLst>
              <a:ext uri="{FF2B5EF4-FFF2-40B4-BE49-F238E27FC236}">
                <a16:creationId xmlns:a16="http://schemas.microsoft.com/office/drawing/2014/main" id="{DBE8AEF3-9454-4085-942E-4212E7A608B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47625" y="7978061"/>
            <a:ext cx="6480198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1733930" rtl="0" fontAlgn="auto" latinLnBrk="0" hangingPunct="0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s-E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defRPr>
            </a:lvl1pPr>
          </a:lstStyle>
          <a:p>
            <a:r>
              <a:rPr lang="es-ES" dirty="0"/>
              <a:t>Subtítulo (si procede)</a:t>
            </a:r>
          </a:p>
        </p:txBody>
      </p:sp>
      <p:sp>
        <p:nvSpPr>
          <p:cNvPr id="23" name="Marcador de contenido 10">
            <a:extLst>
              <a:ext uri="{FF2B5EF4-FFF2-40B4-BE49-F238E27FC236}">
                <a16:creationId xmlns:a16="http://schemas.microsoft.com/office/drawing/2014/main" id="{36C0DC5A-DABF-4FE4-B939-9A1D9E74823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874170" y="7978061"/>
            <a:ext cx="3781875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r" defTabSz="1733930" rtl="0" fontAlgn="auto" latinLnBrk="0" hangingPunct="0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2400" b="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defRPr>
            </a:lvl1pPr>
          </a:lstStyle>
          <a:p>
            <a:r>
              <a:rPr lang="es-ES" dirty="0"/>
              <a:t>Fecha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762BA32-B895-757D-7015-D950ACB2B7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0786" y="685350"/>
            <a:ext cx="4986960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3740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2265483"/>
            <a:ext cx="9887493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279020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4" y="2265483"/>
            <a:ext cx="986778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70338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600487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20313554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02298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1148728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225490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2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7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39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41124059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138"/>
              </a:spcBef>
              <a:buNone/>
              <a:defRPr sz="2655"/>
            </a:lvl1pPr>
          </a:lstStyle>
          <a:p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1341351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585928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Marcador de contenido 10">
            <a:extLst>
              <a:ext uri="{FF2B5EF4-FFF2-40B4-BE49-F238E27FC236}">
                <a16:creationId xmlns:a16="http://schemas.microsoft.com/office/drawing/2014/main" id="{DCA1D66B-4D91-49B9-B28A-6ED88CC6134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4750" y="2164504"/>
            <a:ext cx="15840484" cy="418657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noProof="0" dirty="0"/>
              <a:t>Título de gráfico / elemento / contenido (si procede)</a:t>
            </a:r>
          </a:p>
        </p:txBody>
      </p:sp>
      <p:sp>
        <p:nvSpPr>
          <p:cNvPr id="2" name="Marcador de contenido 10">
            <a:extLst>
              <a:ext uri="{FF2B5EF4-FFF2-40B4-BE49-F238E27FC236}">
                <a16:creationId xmlns:a16="http://schemas.microsoft.com/office/drawing/2014/main" id="{31C72E10-B120-19B6-A108-A06787004E6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54750" y="301908"/>
            <a:ext cx="15840484" cy="3348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lang="es-ES" sz="1400" b="0" kern="1200" noProof="0" dirty="0">
                <a:solidFill>
                  <a:schemeClr val="accent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s-ES" noProof="0" dirty="0"/>
              <a:t>Apartado o título del documento (si procede)</a:t>
            </a:r>
          </a:p>
        </p:txBody>
      </p:sp>
      <p:sp>
        <p:nvSpPr>
          <p:cNvPr id="3" name="Marcador de contenido 10">
            <a:extLst>
              <a:ext uri="{FF2B5EF4-FFF2-40B4-BE49-F238E27FC236}">
                <a16:creationId xmlns:a16="http://schemas.microsoft.com/office/drawing/2014/main" id="{035DBC43-04AC-7775-FFE0-705ECD56AAB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54750" y="739351"/>
            <a:ext cx="15840484" cy="108352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s-ES" noProof="0" dirty="0"/>
              <a:t>Título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31CDC87-F995-64A0-A0E9-6713015DB1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7" y="9384549"/>
            <a:ext cx="1036733" cy="25411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D6C94-00AD-9321-EA41-A2BC3D545B2D}"/>
              </a:ext>
            </a:extLst>
          </p:cNvPr>
          <p:cNvSpPr txBox="1">
            <a:spLocks/>
          </p:cNvSpPr>
          <p:nvPr userDrawn="1"/>
        </p:nvSpPr>
        <p:spPr>
          <a:xfrm>
            <a:off x="16632185" y="9372573"/>
            <a:ext cx="576018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5078871-D93F-4D40-B540-DC74CFDF655C}" type="slidenum">
              <a:rPr lang="es-ES" sz="120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pPr algn="ctr"/>
              <a:t>‹Nº›</a:t>
            </a:fld>
            <a:endParaRPr lang="es-ES" sz="12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7" name="Imagen" descr="Imagen">
            <a:extLst>
              <a:ext uri="{FF2B5EF4-FFF2-40B4-BE49-F238E27FC236}">
                <a16:creationId xmlns:a16="http://schemas.microsoft.com/office/drawing/2014/main" id="{6DBEAEF0-E27C-CCD9-53E4-D8E9E36FF2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1" y="9118561"/>
            <a:ext cx="17340262" cy="102643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069598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1062845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9698326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613360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1803521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26419947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1729751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12279072" y="4537542"/>
            <a:ext cx="5460315" cy="5660669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8753554" y="5025895"/>
            <a:ext cx="9175558" cy="489334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877401" y="5333839"/>
            <a:ext cx="6777153" cy="45853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743557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40154352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31672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4281720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31672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0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51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1300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517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2276839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31672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836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5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3004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51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13004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517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952959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-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uadroTexto 29">
            <a:extLst>
              <a:ext uri="{FF2B5EF4-FFF2-40B4-BE49-F238E27FC236}">
                <a16:creationId xmlns:a16="http://schemas.microsoft.com/office/drawing/2014/main" id="{3919FAE5-1BFF-4AFF-A2BF-86C8533455CF}"/>
              </a:ext>
            </a:extLst>
          </p:cNvPr>
          <p:cNvSpPr txBox="1"/>
          <p:nvPr userDrawn="1"/>
        </p:nvSpPr>
        <p:spPr>
          <a:xfrm>
            <a:off x="-5648" y="8093119"/>
            <a:ext cx="17345911" cy="17417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5" tIns="67735" rIns="67735" bIns="67735" numCol="1" spcCol="38100" rtlCol="0" anchor="ctr">
            <a:noAutofit/>
          </a:bodyPr>
          <a:lstStyle/>
          <a:p>
            <a:pPr marL="0" marR="0" indent="0" algn="ctr" defTabSz="77897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4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75B26FC-4407-455A-8995-0F78BADD16D1}"/>
              </a:ext>
            </a:extLst>
          </p:cNvPr>
          <p:cNvSpPr txBox="1"/>
          <p:nvPr userDrawn="1"/>
        </p:nvSpPr>
        <p:spPr>
          <a:xfrm>
            <a:off x="10645549" y="8682637"/>
            <a:ext cx="2766882" cy="3796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600"/>
              </a:spcBef>
            </a:pPr>
            <a:endParaRPr lang="es-ES" sz="1867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0CAFF5C9-EAB9-4B4C-A459-F7159BCE0BB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2219" y="8614924"/>
            <a:ext cx="307181" cy="288000"/>
          </a:xfrm>
          <a:prstGeom prst="rect">
            <a:avLst/>
          </a:prstGeom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729E299D-6FBD-43CB-B4F4-803EE4459FD4}"/>
              </a:ext>
            </a:extLst>
          </p:cNvPr>
          <p:cNvSpPr txBox="1"/>
          <p:nvPr userDrawn="1"/>
        </p:nvSpPr>
        <p:spPr>
          <a:xfrm>
            <a:off x="3107518" y="8569097"/>
            <a:ext cx="2766882" cy="3796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600"/>
              </a:spcBef>
            </a:pPr>
            <a:r>
              <a:rPr lang="es-ES" sz="1867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l.: +34 94 470 65 04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7B783628-8D68-4A8F-BF6E-5A196073775B}"/>
              </a:ext>
            </a:extLst>
          </p:cNvPr>
          <p:cNvSpPr txBox="1"/>
          <p:nvPr userDrawn="1"/>
        </p:nvSpPr>
        <p:spPr>
          <a:xfrm>
            <a:off x="10580734" y="8569097"/>
            <a:ext cx="4903606" cy="3796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600"/>
              </a:spcBef>
            </a:pPr>
            <a:r>
              <a:rPr lang="es-ES" sz="1867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fex, Spanish Railway Association</a:t>
            </a:r>
            <a:endParaRPr lang="es-ES" sz="1867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0549F67-557F-453C-B7C4-EB25EBAFD2AF}"/>
              </a:ext>
            </a:extLst>
          </p:cNvPr>
          <p:cNvSpPr txBox="1"/>
          <p:nvPr userDrawn="1"/>
        </p:nvSpPr>
        <p:spPr>
          <a:xfrm>
            <a:off x="3107518" y="9013965"/>
            <a:ext cx="2766882" cy="3796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600"/>
              </a:spcBef>
            </a:pPr>
            <a:r>
              <a:rPr lang="es-ES" sz="1867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afex.es</a:t>
            </a:r>
            <a:endParaRPr lang="es-ES" sz="1867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FAF3DC6A-AA2B-4D39-BAD3-09217D269437}"/>
              </a:ext>
            </a:extLst>
          </p:cNvPr>
          <p:cNvSpPr txBox="1"/>
          <p:nvPr userDrawn="1"/>
        </p:nvSpPr>
        <p:spPr>
          <a:xfrm>
            <a:off x="10580734" y="9013965"/>
            <a:ext cx="4903606" cy="3796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600"/>
              </a:spcBef>
            </a:pPr>
            <a:r>
              <a:rPr lang="es-ES" sz="1867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fexSpain</a:t>
            </a:r>
            <a:endParaRPr lang="es-ES" sz="1867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2DE747A-410C-FD3A-128D-E4E90F51C0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r="219"/>
          <a:stretch/>
        </p:blipFill>
        <p:spPr>
          <a:xfrm>
            <a:off x="-5648" y="0"/>
            <a:ext cx="17345911" cy="81972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0673CA7-5569-B3C3-B296-9172BF13257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117" y="359979"/>
            <a:ext cx="5636028" cy="1384892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56F7D304-CA62-2E49-EB85-289F0DF14F0B}"/>
              </a:ext>
            </a:extLst>
          </p:cNvPr>
          <p:cNvPicPr preferRelativeResize="0">
            <a:picLocks/>
          </p:cNvPicPr>
          <p:nvPr userDrawn="1"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133400" y="9059792"/>
            <a:ext cx="306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35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7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30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5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003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5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344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7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85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7881" y="9252262"/>
            <a:ext cx="1222011" cy="242455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679" y="1019015"/>
            <a:ext cx="13477057" cy="7494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5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tx1"/>
                </a:solidFill>
              </a:rPr>
              <a:pPr algn="r"/>
              <a:t>‹Nº›</a:t>
            </a:fld>
            <a:endParaRPr lang="es-ES" sz="1517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398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984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2287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6972" y="3784416"/>
            <a:ext cx="16386321" cy="47791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5309"/>
              </a:lnSpc>
              <a:spcBef>
                <a:spcPts val="0"/>
              </a:spcBef>
              <a:spcAft>
                <a:spcPts val="5309"/>
              </a:spcAft>
              <a:buNone/>
              <a:defRPr sz="2276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6972" y="2555478"/>
            <a:ext cx="16386321" cy="9558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35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14495198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6972" y="3784416"/>
            <a:ext cx="16386321" cy="47791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5309"/>
              </a:lnSpc>
              <a:spcBef>
                <a:spcPts val="0"/>
              </a:spcBef>
              <a:spcAft>
                <a:spcPts val="5309"/>
              </a:spcAft>
              <a:buNone/>
              <a:defRPr sz="2276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6972" y="2555478"/>
            <a:ext cx="16386321" cy="9558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35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683986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2" y="923155"/>
            <a:ext cx="16386729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2" y="507734"/>
            <a:ext cx="16386726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665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5"/>
            <a:ext cx="17340263" cy="97812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5" y="545547"/>
            <a:ext cx="5298413" cy="3054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885" y="980252"/>
            <a:ext cx="5298413" cy="22682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96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7884" y="1402837"/>
            <a:ext cx="2558893" cy="90913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96"/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7021" y="4086155"/>
            <a:ext cx="9425084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533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0867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2" y="923155"/>
            <a:ext cx="16386729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2" y="507734"/>
            <a:ext cx="16386726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1499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524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339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4604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6218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7162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0035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420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51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6005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4690495" y="8878068"/>
            <a:ext cx="2661814" cy="913936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8724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5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2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5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92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728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7340263" cy="97536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3" y="4709320"/>
            <a:ext cx="6886842" cy="3527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885" y="5323443"/>
            <a:ext cx="5298413" cy="22682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96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7884" y="544105"/>
            <a:ext cx="2558893" cy="90913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96"/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331" y="2021899"/>
            <a:ext cx="10758009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7585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9293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3" y="3019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3" y="3019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5"/>
            <a:ext cx="301045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9954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1" y="923159"/>
            <a:ext cx="16383721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413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1" y="507734"/>
            <a:ext cx="16383721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422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5996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3" y="8878068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40"/>
              <a:endParaRPr lang="es-ES" sz="3408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40"/>
              <a:endParaRPr lang="es-ES" sz="3408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12640043" y="9302093"/>
            <a:ext cx="1628753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09" tIns="86653" rIns="173309" bIns="86653" numCol="1" anchor="t" anchorCtr="0" compatLnSpc="1">
            <a:prstTxWarp prst="textNoShape">
              <a:avLst/>
            </a:prstTxWarp>
          </a:bodyPr>
          <a:lstStyle/>
          <a:p>
            <a:pPr defTabSz="1299540"/>
            <a:endParaRPr lang="es-ES" sz="3408">
              <a:solidFill>
                <a:srgbClr val="1A3B47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61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6" smtClean="0">
                <a:solidFill>
                  <a:srgbClr val="FFFFFF"/>
                </a:solidFill>
              </a:rPr>
              <a:pPr algn="r"/>
              <a:t>‹Nº›</a:t>
            </a:fld>
            <a:endParaRPr lang="es-ES" sz="1516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1172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20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20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8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3" y="923165"/>
            <a:ext cx="16383718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413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3" y="507734"/>
            <a:ext cx="16383718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422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5996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931087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21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4" y="3021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3" y="8"/>
            <a:ext cx="301047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84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1" y="923165"/>
            <a:ext cx="16383721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413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1" y="507734"/>
            <a:ext cx="16383721" cy="357717"/>
          </a:xfrm>
          <a:prstGeom prst="rect">
            <a:avLst/>
          </a:prstGeom>
        </p:spPr>
        <p:txBody>
          <a:bodyPr lIns="0" tIns="45718" rIns="91436" bIns="45718" anchor="t" anchorCtr="0">
            <a:noAutofit/>
          </a:bodyPr>
          <a:lstStyle>
            <a:lvl1pPr marL="0" indent="0">
              <a:buNone/>
              <a:defRPr kumimoji="0" lang="es-ES" sz="1564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59958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3" y="8878071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3413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413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0047" y="9302093"/>
            <a:ext cx="1628754" cy="353906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01" tIns="86649" rIns="173301" bIns="8664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7" y="9246365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64" smtClean="0">
                <a:solidFill>
                  <a:schemeClr val="bg1"/>
                </a:solidFill>
              </a:rPr>
              <a:pPr algn="r"/>
              <a:t>‹Nº›</a:t>
            </a:fld>
            <a:endParaRPr lang="es-ES" sz="1564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412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800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2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1" y="5362741"/>
            <a:ext cx="8037934" cy="163095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2655" dirty="0"/>
            </a:lvl1pPr>
          </a:lstStyle>
          <a:p>
            <a:pPr marL="0" lvl="0" indent="0">
              <a:lnSpc>
                <a:spcPct val="100000"/>
              </a:lnSpc>
              <a:spcBef>
                <a:spcPts val="1138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6" y="2265483"/>
            <a:ext cx="10030682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6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50" y="2137941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55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6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2"/>
          </a:p>
        </p:txBody>
      </p:sp>
    </p:spTree>
    <p:extLst>
      <p:ext uri="{BB962C8B-B14F-4D97-AF65-F5344CB8AC3E}">
        <p14:creationId xmlns:p14="http://schemas.microsoft.com/office/powerpoint/2010/main" val="6148869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10606461" y="57799"/>
            <a:ext cx="6806053" cy="976805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99592"/>
            <a:endParaRPr lang="es-ES" sz="3409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9" y="2265488"/>
            <a:ext cx="10030679" cy="2344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689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93948" y="2137942"/>
            <a:ext cx="5311660" cy="28755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742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3" y="9246359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6" smtClean="0">
                <a:solidFill>
                  <a:srgbClr val="FFFFFF"/>
                </a:solidFill>
              </a:rPr>
              <a:pPr algn="r"/>
              <a:t>‹Nº›</a:t>
            </a:fld>
            <a:endParaRPr lang="es-ES" sz="1516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2" y="9302091"/>
            <a:ext cx="1628753" cy="353906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08" tIns="86653" rIns="173308" bIns="86653" numCol="1" anchor="t" anchorCtr="0" compatLnSpc="1">
            <a:prstTxWarp prst="textNoShape">
              <a:avLst/>
            </a:prstTxWarp>
          </a:bodyPr>
          <a:lstStyle/>
          <a:p>
            <a:pPr defTabSz="1299592"/>
            <a:endParaRPr lang="es-ES" sz="3409">
              <a:solidFill>
                <a:srgbClr val="1A3B47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477881" y="5362739"/>
            <a:ext cx="8192250" cy="37473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138"/>
              </a:spcBef>
              <a:buNone/>
              <a:defRPr sz="2276"/>
            </a:lvl1pPr>
            <a:lvl2pPr marL="649873" indent="0">
              <a:buNone/>
              <a:defRPr/>
            </a:lvl2pPr>
            <a:lvl3pPr marL="1299744" indent="0">
              <a:buNone/>
              <a:defRPr/>
            </a:lvl3pPr>
            <a:lvl4pPr marL="1949617" indent="0">
              <a:buNone/>
              <a:defRPr/>
            </a:lvl4pPr>
            <a:lvl5pPr marL="2599489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07767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2" y="3017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12" y="3017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3"/>
            <a:ext cx="301045" cy="301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995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79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2" y="923158"/>
            <a:ext cx="16383720" cy="1307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413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77882" y="507734"/>
            <a:ext cx="16383720" cy="35771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422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5997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4690492" y="8878066"/>
            <a:ext cx="2661814" cy="913936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92"/>
              <a:endParaRPr lang="es-ES" sz="3409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92"/>
              <a:endParaRPr lang="es-ES" sz="3409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3" y="9246359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6" smtClean="0">
                <a:solidFill>
                  <a:srgbClr val="FFFFFF"/>
                </a:solidFill>
              </a:rPr>
              <a:pPr algn="r"/>
              <a:t>‹Nº›</a:t>
            </a:fld>
            <a:endParaRPr lang="es-ES" sz="1516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716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5282" name="Picture 2" descr="The digital transformation of rail: A revolution within the sector -  Mobility Innovato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43"/>
            <a:ext cx="17502828" cy="9845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/>
          <p:cNvSpPr/>
          <p:nvPr userDrawn="1"/>
        </p:nvSpPr>
        <p:spPr>
          <a:xfrm>
            <a:off x="-18063" y="-22944"/>
            <a:ext cx="11138667" cy="9845042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6" y="6279034"/>
            <a:ext cx="8037934" cy="413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5" y="3454147"/>
            <a:ext cx="8975556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7585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886" y="6902180"/>
            <a:ext cx="8037934" cy="2836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7884" y="1402837"/>
            <a:ext cx="2558893" cy="90913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96"/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99968" y="9013052"/>
            <a:ext cx="2054611" cy="25071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7589" y="8702572"/>
            <a:ext cx="2553189" cy="506571"/>
          </a:xfrm>
          <a:prstGeom prst="rect">
            <a:avLst/>
          </a:prstGeom>
        </p:spPr>
      </p:pic>
      <p:sp>
        <p:nvSpPr>
          <p:cNvPr id="36" name="Rectángulo 35"/>
          <p:cNvSpPr/>
          <p:nvPr userDrawn="1"/>
        </p:nvSpPr>
        <p:spPr>
          <a:xfrm>
            <a:off x="11134579" y="1"/>
            <a:ext cx="6368250" cy="1414276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37" name="Rectángulo 36"/>
          <p:cNvSpPr/>
          <p:nvPr userDrawn="1"/>
        </p:nvSpPr>
        <p:spPr>
          <a:xfrm>
            <a:off x="15301328" y="2284873"/>
            <a:ext cx="2185913" cy="7560169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38" name="Rectángulo 37"/>
          <p:cNvSpPr/>
          <p:nvPr userDrawn="1"/>
        </p:nvSpPr>
        <p:spPr>
          <a:xfrm>
            <a:off x="14001152" y="1414276"/>
            <a:ext cx="3501676" cy="867200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39" name="Rectángulo 38"/>
          <p:cNvSpPr/>
          <p:nvPr userDrawn="1"/>
        </p:nvSpPr>
        <p:spPr>
          <a:xfrm>
            <a:off x="12351418" y="1414276"/>
            <a:ext cx="1649733" cy="512361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40" name="Rectángulo 39"/>
          <p:cNvSpPr/>
          <p:nvPr userDrawn="1"/>
        </p:nvSpPr>
        <p:spPr>
          <a:xfrm>
            <a:off x="11119454" y="8680048"/>
            <a:ext cx="4188288" cy="1180149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41" name="Rectángulo 40"/>
          <p:cNvSpPr/>
          <p:nvPr userDrawn="1"/>
        </p:nvSpPr>
        <p:spPr>
          <a:xfrm>
            <a:off x="11134578" y="8190215"/>
            <a:ext cx="4166749" cy="488135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42" name="Rectángulo 41"/>
          <p:cNvSpPr/>
          <p:nvPr userDrawn="1"/>
        </p:nvSpPr>
        <p:spPr>
          <a:xfrm>
            <a:off x="12646958" y="7717961"/>
            <a:ext cx="2654369" cy="476545"/>
          </a:xfrm>
          <a:prstGeom prst="rect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43" name="Rectángulo 42"/>
          <p:cNvSpPr/>
          <p:nvPr userDrawn="1"/>
        </p:nvSpPr>
        <p:spPr>
          <a:xfrm>
            <a:off x="14368936" y="7478670"/>
            <a:ext cx="932390" cy="239293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46040" y="1009637"/>
            <a:ext cx="4375858" cy="7734326"/>
            <a:chOff x="4700634" y="1022350"/>
            <a:chExt cx="1569938" cy="2774950"/>
          </a:xfrm>
          <a:solidFill>
            <a:srgbClr val="CE1443"/>
          </a:solidFill>
        </p:grpSpPr>
        <p:sp>
          <p:nvSpPr>
            <p:cNvPr id="27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2984">
                <a:defRPr/>
              </a:pPr>
              <a:endParaRPr lang="es-ES" sz="2843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2984">
                <a:defRPr/>
              </a:pPr>
              <a:endParaRPr lang="es-ES" sz="2843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2984">
                <a:defRPr/>
              </a:pPr>
              <a:endParaRPr lang="es-ES" sz="2843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2984">
                <a:defRPr/>
              </a:pPr>
              <a:endParaRPr lang="es-ES" sz="2843">
                <a:solidFill>
                  <a:srgbClr val="FFFFFF"/>
                </a:solidFill>
                <a:latin typeface="Soho Gothic Pr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0222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2810" name="Picture 10" descr="Imágenes de &quot;Train Cars&quot;: descubre bancos de fotos, ilustraciones, vectores  y vídeos de 3,413 | Adobe Stoc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" y="0"/>
            <a:ext cx="17340025" cy="975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ángulo 36"/>
          <p:cNvSpPr/>
          <p:nvPr userDrawn="1"/>
        </p:nvSpPr>
        <p:spPr>
          <a:xfrm>
            <a:off x="-18788" y="0"/>
            <a:ext cx="17359051" cy="9753600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2560" b="1">
              <a:solidFill>
                <a:schemeClr val="tx1"/>
              </a:solidFill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6" y="6279034"/>
            <a:ext cx="8037934" cy="413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85" y="3454147"/>
            <a:ext cx="8975556" cy="2344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7585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886" y="6902180"/>
            <a:ext cx="8037934" cy="2836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55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7884" y="1402837"/>
            <a:ext cx="2558893" cy="90913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96"/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7589" y="8702572"/>
            <a:ext cx="2553189" cy="506571"/>
          </a:xfrm>
          <a:prstGeom prst="rect">
            <a:avLst/>
          </a:prstGeo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9466426" y="1912816"/>
            <a:ext cx="2977159" cy="5262127"/>
            <a:chOff x="4700634" y="1022350"/>
            <a:chExt cx="1569938" cy="2774950"/>
          </a:xfrm>
          <a:solidFill>
            <a:srgbClr val="265171"/>
          </a:solidFill>
        </p:grpSpPr>
        <p:sp>
          <p:nvSpPr>
            <p:cNvPr id="24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11327330" y="1912816"/>
            <a:ext cx="2977159" cy="5262127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34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</p:grpSp>
      <p:grpSp>
        <p:nvGrpSpPr>
          <p:cNvPr id="46" name="Grupo 45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13188239" y="1912816"/>
            <a:ext cx="2977159" cy="5262127"/>
            <a:chOff x="4700634" y="1022350"/>
            <a:chExt cx="1569938" cy="2774950"/>
          </a:xfrm>
          <a:solidFill>
            <a:schemeClr val="bg1">
              <a:lumMod val="50000"/>
            </a:schemeClr>
          </a:solidFill>
        </p:grpSpPr>
        <p:sp>
          <p:nvSpPr>
            <p:cNvPr id="47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48" name="Rectángulo 47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49" name="Rectángulo 48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  <p:sp>
          <p:nvSpPr>
            <p:cNvPr id="50" name="Rectángulo 49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99561">
                <a:defRPr/>
              </a:pPr>
              <a:endParaRPr lang="es-ES" sz="3412" dirty="0">
                <a:solidFill>
                  <a:srgbClr val="FFFFFF"/>
                </a:solidFill>
                <a:latin typeface="Soho Gothic Pro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2368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014" y="3014"/>
          <a:ext cx="3011" cy="30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14" y="3014"/>
                        <a:ext cx="3011" cy="30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77881" y="918164"/>
            <a:ext cx="15670239" cy="1228234"/>
          </a:xfrm>
          <a:prstGeom prst="rect">
            <a:avLst/>
          </a:prstGeom>
        </p:spPr>
        <p:txBody>
          <a:bodyPr lIns="0" tIns="0" rIns="0" bIns="0"/>
          <a:lstStyle>
            <a:lvl1pPr>
              <a:defRPr sz="3792"/>
            </a:lvl1pPr>
          </a:lstStyle>
          <a:p>
            <a:r>
              <a:rPr lang="es-ES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251530" y="9020749"/>
            <a:ext cx="1836381" cy="19098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517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6155927" y="3175750"/>
            <a:ext cx="11292011" cy="676635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3977173" y="1271852"/>
            <a:ext cx="11315766" cy="867025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131255" y="28471"/>
            <a:ext cx="11747146" cy="9913636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6317084" y="9246358"/>
            <a:ext cx="544519" cy="46035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517" smtClean="0">
                <a:solidFill>
                  <a:schemeClr val="bg1"/>
                </a:solidFill>
              </a:rPr>
              <a:pPr algn="r"/>
              <a:t>‹Nº›</a:t>
            </a:fld>
            <a:endParaRPr lang="es-ES" sz="1517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</p:spTree>
    <p:extLst>
      <p:ext uri="{BB962C8B-B14F-4D97-AF65-F5344CB8AC3E}">
        <p14:creationId xmlns:p14="http://schemas.microsoft.com/office/powerpoint/2010/main" val="36197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85" y="1013243"/>
            <a:ext cx="10743557" cy="101629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7585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Gracias!</a:t>
            </a:r>
            <a:endParaRPr lang="en-US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11015009" y="5261033"/>
            <a:ext cx="3663441" cy="5418667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4405347" y="3862033"/>
            <a:ext cx="1437350" cy="6817670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5634321" y="1832497"/>
            <a:ext cx="1967033" cy="8847206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413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12640041" y="9302094"/>
            <a:ext cx="1628754" cy="353906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477881" y="9253096"/>
            <a:ext cx="1220566" cy="243780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73397" tIns="86699" rIns="173397" bIns="86699" numCol="1" anchor="t" anchorCtr="0" compatLnSpc="1">
            <a:prstTxWarp prst="textNoShape">
              <a:avLst/>
            </a:prstTxWarp>
          </a:bodyPr>
          <a:lstStyle/>
          <a:p>
            <a:endParaRPr lang="es-ES" sz="3413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7882" y="5362741"/>
            <a:ext cx="8037932" cy="1630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76"/>
            </a:lvl1pPr>
          </a:lstStyle>
          <a:p>
            <a:pPr marL="0" indent="0">
              <a:buNone/>
            </a:pPr>
            <a:r>
              <a:rPr lang="en-US" err="1"/>
              <a:t>Dat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861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24.xml"/><Relationship Id="rId34" Type="http://schemas.openxmlformats.org/officeDocument/2006/relationships/slideLayout" Target="../slideLayouts/slideLayout37.xml"/><Relationship Id="rId42" Type="http://schemas.openxmlformats.org/officeDocument/2006/relationships/slideLayout" Target="../slideLayouts/slideLayout45.xml"/><Relationship Id="rId47" Type="http://schemas.openxmlformats.org/officeDocument/2006/relationships/slideLayout" Target="../slideLayouts/slideLayout50.xml"/><Relationship Id="rId50" Type="http://schemas.openxmlformats.org/officeDocument/2006/relationships/slideLayout" Target="../slideLayouts/slideLayout5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32" Type="http://schemas.openxmlformats.org/officeDocument/2006/relationships/slideLayout" Target="../slideLayouts/slideLayout35.xml"/><Relationship Id="rId37" Type="http://schemas.openxmlformats.org/officeDocument/2006/relationships/slideLayout" Target="../slideLayouts/slideLayout40.xml"/><Relationship Id="rId40" Type="http://schemas.openxmlformats.org/officeDocument/2006/relationships/slideLayout" Target="../slideLayouts/slideLayout43.xml"/><Relationship Id="rId45" Type="http://schemas.openxmlformats.org/officeDocument/2006/relationships/slideLayout" Target="../slideLayouts/slideLayout48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34.xml"/><Relationship Id="rId44" Type="http://schemas.openxmlformats.org/officeDocument/2006/relationships/slideLayout" Target="../slideLayouts/slideLayout47.xml"/><Relationship Id="rId52" Type="http://schemas.openxmlformats.org/officeDocument/2006/relationships/slideLayout" Target="../slideLayouts/slideLayout55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slideLayout" Target="../slideLayouts/slideLayout30.xml"/><Relationship Id="rId30" Type="http://schemas.openxmlformats.org/officeDocument/2006/relationships/slideLayout" Target="../slideLayouts/slideLayout33.xml"/><Relationship Id="rId35" Type="http://schemas.openxmlformats.org/officeDocument/2006/relationships/slideLayout" Target="../slideLayouts/slideLayout38.xml"/><Relationship Id="rId43" Type="http://schemas.openxmlformats.org/officeDocument/2006/relationships/slideLayout" Target="../slideLayouts/slideLayout46.xml"/><Relationship Id="rId48" Type="http://schemas.openxmlformats.org/officeDocument/2006/relationships/slideLayout" Target="../slideLayouts/slideLayout51.xml"/><Relationship Id="rId56" Type="http://schemas.openxmlformats.org/officeDocument/2006/relationships/image" Target="../media/image10.emf"/><Relationship Id="rId8" Type="http://schemas.openxmlformats.org/officeDocument/2006/relationships/slideLayout" Target="../slideLayouts/slideLayout11.xml"/><Relationship Id="rId51" Type="http://schemas.openxmlformats.org/officeDocument/2006/relationships/slideLayout" Target="../slideLayouts/slideLayout54.xml"/><Relationship Id="rId3" Type="http://schemas.openxmlformats.org/officeDocument/2006/relationships/slideLayout" Target="../slideLayouts/slideLayout6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33" Type="http://schemas.openxmlformats.org/officeDocument/2006/relationships/slideLayout" Target="../slideLayouts/slideLayout36.xml"/><Relationship Id="rId38" Type="http://schemas.openxmlformats.org/officeDocument/2006/relationships/slideLayout" Target="../slideLayouts/slideLayout41.xml"/><Relationship Id="rId4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23.xml"/><Relationship Id="rId41" Type="http://schemas.openxmlformats.org/officeDocument/2006/relationships/slideLayout" Target="../slideLayouts/slideLayout44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slideLayout" Target="../slideLayouts/slideLayout31.xml"/><Relationship Id="rId36" Type="http://schemas.openxmlformats.org/officeDocument/2006/relationships/slideLayout" Target="../slideLayouts/slideLayout39.xml"/><Relationship Id="rId49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5113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60" r:id="rId2"/>
    <p:sldLayoutId id="2147483757" r:id="rId3"/>
  </p:sldLayoutIdLst>
  <p:txStyles>
    <p:titleStyle>
      <a:lvl1pPr algn="l" defTabSz="1300460" rtl="0" eaLnBrk="1" latinLnBrk="0" hangingPunct="1">
        <a:lnSpc>
          <a:spcPct val="90000"/>
        </a:lnSpc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5115" indent="-325115" algn="l" defTabSz="1300460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3982" kern="1200">
          <a:solidFill>
            <a:schemeClr val="tx1"/>
          </a:solidFill>
          <a:latin typeface="+mn-lt"/>
          <a:ea typeface="+mn-ea"/>
          <a:cs typeface="+mn-cs"/>
        </a:defRPr>
      </a:lvl1pPr>
      <a:lvl2pPr marL="975345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1300460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130046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4"/>
            </p:custDataLst>
          </p:nvPr>
        </p:nvGraphicFramePr>
        <p:xfrm>
          <a:off x="2709" y="2709"/>
          <a:ext cx="2711" cy="27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47" imgH="447" progId="TCLayout.ActiveDocument.1">
                  <p:embed/>
                </p:oleObj>
              </mc:Choice>
              <mc:Fallback>
                <p:oleObj name="think-cell Slide" r:id="rId55" imgW="447" imgH="4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709" y="2709"/>
                        <a:ext cx="2711" cy="27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027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8" r:id="rId37"/>
    <p:sldLayoutId id="2147483799" r:id="rId38"/>
    <p:sldLayoutId id="2147483800" r:id="rId39"/>
    <p:sldLayoutId id="2147483801" r:id="rId40"/>
    <p:sldLayoutId id="2147483802" r:id="rId41"/>
    <p:sldLayoutId id="2147483803" r:id="rId42"/>
    <p:sldLayoutId id="2147483804" r:id="rId43"/>
    <p:sldLayoutId id="2147483805" r:id="rId44"/>
    <p:sldLayoutId id="2147483806" r:id="rId45"/>
    <p:sldLayoutId id="2147483807" r:id="rId46"/>
    <p:sldLayoutId id="2147483808" r:id="rId47"/>
    <p:sldLayoutId id="2147483809" r:id="rId48"/>
    <p:sldLayoutId id="2147483810" r:id="rId49"/>
    <p:sldLayoutId id="2147483811" r:id="rId50"/>
    <p:sldLayoutId id="2147483812" r:id="rId51"/>
    <p:sldLayoutId id="2147483813" r:id="rId52"/>
  </p:sldLayoutIdLst>
  <p:hf hdr="0" ftr="0" dt="0"/>
  <p:txStyles>
    <p:titleStyle>
      <a:lvl1pPr algn="l" defTabSz="1300414" rtl="0" eaLnBrk="1" latinLnBrk="0" hangingPunct="1">
        <a:lnSpc>
          <a:spcPct val="90000"/>
        </a:lnSpc>
        <a:spcBef>
          <a:spcPct val="0"/>
        </a:spcBef>
        <a:buNone/>
        <a:defRPr sz="6637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325105" indent="-325105" algn="l" defTabSz="1300414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2844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975311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6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3pPr>
      <a:lvl4pPr marL="2275725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925933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576139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4226347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876553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526760" indent="-325105" algn="l" defTabSz="1300414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07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14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23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28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35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41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50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658" algn="l" defTabSz="13004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88">
          <p15:clr>
            <a:srgbClr val="F26B43"/>
          </p15:clr>
        </p15:guide>
        <p15:guide id="4" orient="horz" pos="3413">
          <p15:clr>
            <a:srgbClr val="F26B43"/>
          </p15:clr>
        </p15:guide>
        <p15:guide id="6" pos="3200">
          <p15:clr>
            <a:srgbClr val="F26B43"/>
          </p15:clr>
        </p15:guide>
        <p15:guide id="10" pos="6223">
          <p15:clr>
            <a:srgbClr val="F26B43"/>
          </p15:clr>
        </p15:guide>
        <p15:guide id="15" pos="177">
          <p15:clr>
            <a:srgbClr val="F26B43"/>
          </p15:clr>
        </p15:guide>
        <p15:guide id="17" orient="horz" pos="6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3" Type="http://schemas.openxmlformats.org/officeDocument/2006/relationships/image" Target="../media/image81.jpeg"/><Relationship Id="rId7" Type="http://schemas.openxmlformats.org/officeDocument/2006/relationships/image" Target="../media/image85.svg"/><Relationship Id="rId12" Type="http://schemas.openxmlformats.org/officeDocument/2006/relationships/image" Target="../media/image90.svg"/><Relationship Id="rId17" Type="http://schemas.openxmlformats.org/officeDocument/2006/relationships/image" Target="../media/image95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9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svg"/><Relationship Id="rId15" Type="http://schemas.openxmlformats.org/officeDocument/2006/relationships/image" Target="../media/image93.sv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svg"/><Relationship Id="rId14" Type="http://schemas.openxmlformats.org/officeDocument/2006/relationships/image" Target="../media/image9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28.jpg"/><Relationship Id="rId21" Type="http://schemas.openxmlformats.org/officeDocument/2006/relationships/image" Target="../media/image46.png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jpeg"/><Relationship Id="rId10" Type="http://schemas.openxmlformats.org/officeDocument/2006/relationships/image" Target="../media/image35.png"/><Relationship Id="rId19" Type="http://schemas.openxmlformats.org/officeDocument/2006/relationships/image" Target="../media/image44.jpeg"/><Relationship Id="rId4" Type="http://schemas.openxmlformats.org/officeDocument/2006/relationships/image" Target="../media/image29.png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3" Type="http://schemas.openxmlformats.org/officeDocument/2006/relationships/image" Target="../media/image47.jpeg"/><Relationship Id="rId7" Type="http://schemas.microsoft.com/office/2007/relationships/hdphoto" Target="../media/hdphoto1.wdp"/><Relationship Id="rId12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microsoft.com/office/2007/relationships/hdphoto" Target="../media/hdphoto2.wdp"/><Relationship Id="rId5" Type="http://schemas.openxmlformats.org/officeDocument/2006/relationships/image" Target="../media/image49.png"/><Relationship Id="rId10" Type="http://schemas.openxmlformats.org/officeDocument/2006/relationships/image" Target="../media/image53.png"/><Relationship Id="rId4" Type="http://schemas.openxmlformats.org/officeDocument/2006/relationships/image" Target="../media/image48.png"/><Relationship Id="rId9" Type="http://schemas.openxmlformats.org/officeDocument/2006/relationships/image" Target="../media/image52.png"/><Relationship Id="rId14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13" Type="http://schemas.openxmlformats.org/officeDocument/2006/relationships/image" Target="../media/image68.png"/><Relationship Id="rId18" Type="http://schemas.openxmlformats.org/officeDocument/2006/relationships/hyperlink" Target="http://www.google.es/imgres?imgurl=http://www.33ff.com/flags/XL_flags_embossed/United-States_flag.gif&amp;imgrefurl=http://www.33ff.com/flags/banderasmundo/bandera_Estados-Unidos.html&amp;h=240&amp;w=360&amp;sz=16&amp;tbnid=d1j4Tpvr_jjrxM:&amp;tbnh=81&amp;tbnw=121&amp;prev=/images?q=bandera+estados+unidos&amp;hl=es&amp;usg=__Yg3OcoKKHKSEcpcWIIVfmF-la9M=&amp;ei=T-BhS6LDO5Xn4gb4saToCw&amp;sa=X&amp;oi=image_result&amp;resnum=4&amp;ct=image&amp;ved=0CBkQ9QEwAw" TargetMode="External"/><Relationship Id="rId3" Type="http://schemas.openxmlformats.org/officeDocument/2006/relationships/image" Target="../media/image59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openxmlformats.org/officeDocument/2006/relationships/image" Target="../media/image72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eg"/><Relationship Id="rId11" Type="http://schemas.openxmlformats.org/officeDocument/2006/relationships/image" Target="../media/image66.png"/><Relationship Id="rId5" Type="http://schemas.openxmlformats.org/officeDocument/2006/relationships/hyperlink" Target="http://www.google.es/imgres?imgurl=http://www.viajes.es/europa/finlandia/finlandia-bandera-de-finlandia-ip2.gif&amp;imgrefurl=http://www.viajes.es/europa/finlandia/&amp;h=240&amp;w=360&amp;sz=3&amp;tbnid=tP9mkzxdvABTMM:&amp;tbnh=81&amp;tbnw=121&amp;prev=/images?q=bandera+finlandia&amp;hl=es&amp;usg=__XMf3dKGrnqLwLZJhtSV9OK7sLO4=&amp;ei=muBhS8mVAoK64QbCvoTxCw&amp;sa=X&amp;oi=image_result&amp;resnum=3&amp;ct=image&amp;ved=0CAsQ9QEwAg" TargetMode="External"/><Relationship Id="rId15" Type="http://schemas.openxmlformats.org/officeDocument/2006/relationships/image" Target="../media/image70.jpeg"/><Relationship Id="rId10" Type="http://schemas.openxmlformats.org/officeDocument/2006/relationships/image" Target="../media/image65.png"/><Relationship Id="rId19" Type="http://schemas.openxmlformats.org/officeDocument/2006/relationships/image" Target="../media/image73.jpeg"/><Relationship Id="rId4" Type="http://schemas.openxmlformats.org/officeDocument/2006/relationships/image" Target="../media/image60.png"/><Relationship Id="rId9" Type="http://schemas.openxmlformats.org/officeDocument/2006/relationships/image" Target="../media/image64.png"/><Relationship Id="rId14" Type="http://schemas.openxmlformats.org/officeDocument/2006/relationships/image" Target="../media/image6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image" Target="../media/image74.png"/><Relationship Id="rId7" Type="http://schemas.openxmlformats.org/officeDocument/2006/relationships/image" Target="../media/image7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emf"/><Relationship Id="rId5" Type="http://schemas.openxmlformats.org/officeDocument/2006/relationships/image" Target="../media/image76.emf"/><Relationship Id="rId4" Type="http://schemas.openxmlformats.org/officeDocument/2006/relationships/image" Target="../media/image7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9D8AA952-2A12-ED5C-0A7D-D5DDA0AB2E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5680" y="6920252"/>
            <a:ext cx="10282547" cy="720000"/>
          </a:xfrm>
        </p:spPr>
        <p:txBody>
          <a:bodyPr/>
          <a:lstStyle/>
          <a:p>
            <a:r>
              <a:rPr lang="en-GB" dirty="0"/>
              <a:t>Mafex – Current view of the Spanish  railway industry 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C34B1B9-BF28-34AD-267E-06E7417873F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47625" y="7978061"/>
            <a:ext cx="8106256" cy="432000"/>
          </a:xfrm>
        </p:spPr>
        <p:txBody>
          <a:bodyPr/>
          <a:lstStyle/>
          <a:p>
            <a:r>
              <a:rPr lang="en-US" sz="2000" dirty="0"/>
              <a:t>III Jornada Hispano –</a:t>
            </a:r>
            <a:r>
              <a:rPr lang="en-US" sz="2000" dirty="0" err="1"/>
              <a:t>Alemana</a:t>
            </a:r>
            <a:r>
              <a:rPr lang="en-US" sz="2000" dirty="0"/>
              <a:t> </a:t>
            </a:r>
            <a:r>
              <a:rPr lang="en-US" sz="2000" dirty="0" err="1"/>
              <a:t>sobre</a:t>
            </a:r>
            <a:r>
              <a:rPr lang="en-US" sz="2000" dirty="0"/>
              <a:t> </a:t>
            </a:r>
            <a:r>
              <a:rPr lang="en-US" sz="2000" dirty="0" err="1"/>
              <a:t>el</a:t>
            </a:r>
            <a:r>
              <a:rPr lang="en-US" sz="2000" dirty="0"/>
              <a:t>  </a:t>
            </a:r>
            <a:r>
              <a:rPr lang="en-US" sz="2000" dirty="0" err="1"/>
              <a:t>Secor</a:t>
            </a:r>
            <a:r>
              <a:rPr lang="en-US" sz="2000" dirty="0"/>
              <a:t> </a:t>
            </a:r>
            <a:r>
              <a:rPr lang="en-US" sz="2000" dirty="0" err="1"/>
              <a:t>Ferroviario</a:t>
            </a:r>
            <a:endParaRPr lang="en-GB" sz="2000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19E09EE-9492-B8AB-48E1-CB94A30A06C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sz="1800" dirty="0"/>
              <a:t>21 Nov 2024</a:t>
            </a:r>
          </a:p>
        </p:txBody>
      </p:sp>
    </p:spTree>
    <p:extLst>
      <p:ext uri="{BB962C8B-B14F-4D97-AF65-F5344CB8AC3E}">
        <p14:creationId xmlns:p14="http://schemas.microsoft.com/office/powerpoint/2010/main" val="423734194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What we do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F6FF250-A216-DD76-55D3-9DAAC1B5C52B}"/>
              </a:ext>
            </a:extLst>
          </p:cNvPr>
          <p:cNvGrpSpPr/>
          <p:nvPr/>
        </p:nvGrpSpPr>
        <p:grpSpPr>
          <a:xfrm>
            <a:off x="-3" y="1940034"/>
            <a:ext cx="17340266" cy="7191033"/>
            <a:chOff x="-3" y="1682706"/>
            <a:chExt cx="12198998" cy="4469933"/>
          </a:xfrm>
        </p:grpSpPr>
        <p:pic>
          <p:nvPicPr>
            <p:cNvPr id="5" name="Picture 23" descr="Railway Wallpapers - Wallpaper Cave">
              <a:extLst>
                <a:ext uri="{FF2B5EF4-FFF2-40B4-BE49-F238E27FC236}">
                  <a16:creationId xmlns:a16="http://schemas.microsoft.com/office/drawing/2014/main" id="{B4DE2C9E-43CC-46A9-F051-B3183B0EF0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059" b="1164"/>
            <a:stretch/>
          </p:blipFill>
          <p:spPr bwMode="auto">
            <a:xfrm>
              <a:off x="-1" y="1682706"/>
              <a:ext cx="12198996" cy="4467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72D3ACAE-7F03-134F-A2EA-38E1F528384E}"/>
                </a:ext>
              </a:extLst>
            </p:cNvPr>
            <p:cNvGrpSpPr/>
            <p:nvPr/>
          </p:nvGrpSpPr>
          <p:grpSpPr>
            <a:xfrm>
              <a:off x="-3" y="1682706"/>
              <a:ext cx="12198998" cy="4469933"/>
              <a:chOff x="-3" y="1682706"/>
              <a:chExt cx="12198998" cy="4469933"/>
            </a:xfrm>
          </p:grpSpPr>
          <p:sp>
            <p:nvSpPr>
              <p:cNvPr id="9" name="Rectángulo 8">
                <a:extLst>
                  <a:ext uri="{FF2B5EF4-FFF2-40B4-BE49-F238E27FC236}">
                    <a16:creationId xmlns:a16="http://schemas.microsoft.com/office/drawing/2014/main" id="{AC4497A2-7145-8724-871F-437061C35A25}"/>
                  </a:ext>
                </a:extLst>
              </p:cNvPr>
              <p:cNvSpPr/>
              <p:nvPr/>
            </p:nvSpPr>
            <p:spPr>
              <a:xfrm>
                <a:off x="-1" y="2699051"/>
                <a:ext cx="12198996" cy="2442663"/>
              </a:xfrm>
              <a:prstGeom prst="rect">
                <a:avLst/>
              </a:prstGeom>
              <a:solidFill>
                <a:schemeClr val="bg1">
                  <a:lumMod val="65000"/>
                  <a:alpha val="8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Light"/>
                </a:endParaRPr>
              </a:p>
            </p:txBody>
          </p:sp>
          <p:grpSp>
            <p:nvGrpSpPr>
              <p:cNvPr id="10" name="Grupo 9">
                <a:extLst>
                  <a:ext uri="{FF2B5EF4-FFF2-40B4-BE49-F238E27FC236}">
                    <a16:creationId xmlns:a16="http://schemas.microsoft.com/office/drawing/2014/main" id="{7ADD4424-6981-EEA6-D403-BB3E1F381ED6}"/>
                  </a:ext>
                </a:extLst>
              </p:cNvPr>
              <p:cNvGrpSpPr/>
              <p:nvPr/>
            </p:nvGrpSpPr>
            <p:grpSpPr>
              <a:xfrm>
                <a:off x="-3" y="1682706"/>
                <a:ext cx="12198998" cy="4469933"/>
                <a:chOff x="-3" y="1682706"/>
                <a:chExt cx="12196366" cy="4469933"/>
              </a:xfrm>
            </p:grpSpPr>
            <p:sp>
              <p:nvSpPr>
                <p:cNvPr id="11" name="Rectángulo 10">
                  <a:extLst>
                    <a:ext uri="{FF2B5EF4-FFF2-40B4-BE49-F238E27FC236}">
                      <a16:creationId xmlns:a16="http://schemas.microsoft.com/office/drawing/2014/main" id="{9B7FFFCD-4B0C-C141-0530-CC58CC88F90D}"/>
                    </a:ext>
                  </a:extLst>
                </p:cNvPr>
                <p:cNvSpPr/>
                <p:nvPr/>
              </p:nvSpPr>
              <p:spPr>
                <a:xfrm>
                  <a:off x="-2" y="1682706"/>
                  <a:ext cx="12189371" cy="1021333"/>
                </a:xfrm>
                <a:prstGeom prst="rect">
                  <a:avLst/>
                </a:prstGeom>
                <a:solidFill>
                  <a:schemeClr val="accent2">
                    <a:alpha val="57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  <a:sym typeface="Helvetica Light"/>
                  </a:endParaRPr>
                </a:p>
              </p:txBody>
            </p:sp>
            <p:sp>
              <p:nvSpPr>
                <p:cNvPr id="12" name="Rectángulo 11">
                  <a:extLst>
                    <a:ext uri="{FF2B5EF4-FFF2-40B4-BE49-F238E27FC236}">
                      <a16:creationId xmlns:a16="http://schemas.microsoft.com/office/drawing/2014/main" id="{497BC748-F53B-8ACF-73CD-9B41F9518DBE}"/>
                    </a:ext>
                  </a:extLst>
                </p:cNvPr>
                <p:cNvSpPr/>
                <p:nvPr/>
              </p:nvSpPr>
              <p:spPr>
                <a:xfrm>
                  <a:off x="-3" y="5141714"/>
                  <a:ext cx="12196366" cy="1010925"/>
                </a:xfrm>
                <a:prstGeom prst="rect">
                  <a:avLst/>
                </a:prstGeom>
                <a:solidFill>
                  <a:schemeClr val="tx1">
                    <a:alpha val="6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  <a:sym typeface="Helvetica Light"/>
                  </a:endParaRPr>
                </a:p>
              </p:txBody>
            </p:sp>
          </p:grpSp>
        </p:grp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975F1397-938E-08BD-87FA-FFBE4EDE9573}"/>
                </a:ext>
              </a:extLst>
            </p:cNvPr>
            <p:cNvSpPr txBox="1"/>
            <p:nvPr/>
          </p:nvSpPr>
          <p:spPr>
            <a:xfrm>
              <a:off x="474988" y="2012787"/>
              <a:ext cx="11249018" cy="3576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ONE - STOP SHOP </a:t>
              </a: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B43DF465-566E-B77F-8923-71BCC512C53C}"/>
                </a:ext>
              </a:extLst>
            </p:cNvPr>
            <p:cNvSpPr txBox="1"/>
            <p:nvPr/>
          </p:nvSpPr>
          <p:spPr>
            <a:xfrm>
              <a:off x="474988" y="5542553"/>
              <a:ext cx="11249018" cy="28697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Internationalization</a:t>
              </a:r>
              <a:r>
                <a:rPr kumimoji="0" lang="en-US" sz="2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 and 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innovation</a:t>
              </a:r>
              <a:r>
                <a:rPr kumimoji="0" lang="en-US" sz="2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 as key elements for the competitive improvement of the industry</a:t>
              </a: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70320481-299E-5C32-8574-31DA0E19F8D9}"/>
              </a:ext>
            </a:extLst>
          </p:cNvPr>
          <p:cNvGrpSpPr>
            <a:grpSpLocks noChangeAspect="1"/>
          </p:cNvGrpSpPr>
          <p:nvPr/>
        </p:nvGrpSpPr>
        <p:grpSpPr>
          <a:xfrm>
            <a:off x="1434516" y="4109685"/>
            <a:ext cx="2814543" cy="2811217"/>
            <a:chOff x="1552505" y="4557375"/>
            <a:chExt cx="2015984" cy="2013602"/>
          </a:xfrm>
        </p:grpSpPr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2CFCC6C4-C8E5-0F25-D1AB-F87A5EE04BD0}"/>
                </a:ext>
              </a:extLst>
            </p:cNvPr>
            <p:cNvSpPr/>
            <p:nvPr/>
          </p:nvSpPr>
          <p:spPr>
            <a:xfrm>
              <a:off x="1552505" y="4557375"/>
              <a:ext cx="2015984" cy="201360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165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5" name="36 Rectángulo">
              <a:extLst>
                <a:ext uri="{FF2B5EF4-FFF2-40B4-BE49-F238E27FC236}">
                  <a16:creationId xmlns:a16="http://schemas.microsoft.com/office/drawing/2014/main" id="{1F59A8B8-BFA7-11CA-EC16-BF7B4EEE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2277" y="4820368"/>
              <a:ext cx="1460610" cy="14876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1600" dirty="0"/>
                <a:t>Supporting </a:t>
              </a:r>
              <a:r>
                <a:rPr lang="en-US" sz="1600" b="1" dirty="0"/>
                <a:t>internationalization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2826FE99-C914-2552-6A9D-A6D15E95B1A1}"/>
              </a:ext>
            </a:extLst>
          </p:cNvPr>
          <p:cNvGrpSpPr>
            <a:grpSpLocks noChangeAspect="1"/>
          </p:cNvGrpSpPr>
          <p:nvPr/>
        </p:nvGrpSpPr>
        <p:grpSpPr>
          <a:xfrm>
            <a:off x="5362426" y="4109685"/>
            <a:ext cx="2814543" cy="2811217"/>
            <a:chOff x="1552505" y="4557375"/>
            <a:chExt cx="2015984" cy="2013602"/>
          </a:xfrm>
        </p:grpSpPr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4CC821B8-9A3E-45EE-61E9-02359301D639}"/>
                </a:ext>
              </a:extLst>
            </p:cNvPr>
            <p:cNvSpPr/>
            <p:nvPr/>
          </p:nvSpPr>
          <p:spPr>
            <a:xfrm>
              <a:off x="1552505" y="4557375"/>
              <a:ext cx="2015984" cy="201360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165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" name="36 Rectángulo">
              <a:extLst>
                <a:ext uri="{FF2B5EF4-FFF2-40B4-BE49-F238E27FC236}">
                  <a16:creationId xmlns:a16="http://schemas.microsoft.com/office/drawing/2014/main" id="{EBABA5CF-291D-7CDE-C019-8721AB928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491" y="4820368"/>
              <a:ext cx="1392011" cy="14876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1600" b="1" dirty="0"/>
                <a:t>Promotion and value  enhancement </a:t>
              </a:r>
              <a:r>
                <a:rPr lang="en-US" sz="1600" dirty="0"/>
                <a:t>of the sector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5300F084-ED2E-6DC1-BA62-6B8DCB8BCD1A}"/>
              </a:ext>
            </a:extLst>
          </p:cNvPr>
          <p:cNvGrpSpPr>
            <a:grpSpLocks noChangeAspect="1"/>
          </p:cNvGrpSpPr>
          <p:nvPr/>
        </p:nvGrpSpPr>
        <p:grpSpPr>
          <a:xfrm>
            <a:off x="9290336" y="4109685"/>
            <a:ext cx="2814543" cy="2811217"/>
            <a:chOff x="1552505" y="4557375"/>
            <a:chExt cx="2015984" cy="2013602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1FCAF989-2F16-6D09-4C08-88E784180624}"/>
                </a:ext>
              </a:extLst>
            </p:cNvPr>
            <p:cNvSpPr/>
            <p:nvPr/>
          </p:nvSpPr>
          <p:spPr>
            <a:xfrm>
              <a:off x="1552505" y="4557375"/>
              <a:ext cx="2015984" cy="201360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165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1" name="36 Rectángulo">
              <a:extLst>
                <a:ext uri="{FF2B5EF4-FFF2-40B4-BE49-F238E27FC236}">
                  <a16:creationId xmlns:a16="http://schemas.microsoft.com/office/drawing/2014/main" id="{D884253A-D0E7-D4B6-1CA1-169470ACAD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491" y="4820368"/>
              <a:ext cx="1392011" cy="14876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1600" dirty="0"/>
                <a:t>Facilitating the exchange of </a:t>
              </a:r>
              <a:r>
                <a:rPr lang="en-US" sz="1600" b="1" dirty="0"/>
                <a:t>knowledge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7D4230D9-D692-771C-29D3-5DD604665225}"/>
              </a:ext>
            </a:extLst>
          </p:cNvPr>
          <p:cNvGrpSpPr>
            <a:grpSpLocks noChangeAspect="1"/>
          </p:cNvGrpSpPr>
          <p:nvPr/>
        </p:nvGrpSpPr>
        <p:grpSpPr>
          <a:xfrm>
            <a:off x="13218245" y="4109685"/>
            <a:ext cx="2814543" cy="2811217"/>
            <a:chOff x="1552505" y="4557375"/>
            <a:chExt cx="2015984" cy="2013602"/>
          </a:xfrm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94A296ED-3CFB-464B-43C0-07F6E35C83DC}"/>
                </a:ext>
              </a:extLst>
            </p:cNvPr>
            <p:cNvSpPr/>
            <p:nvPr/>
          </p:nvSpPr>
          <p:spPr>
            <a:xfrm>
              <a:off x="1552505" y="4557375"/>
              <a:ext cx="2015984" cy="201360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165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4" name="36 Rectángulo">
              <a:extLst>
                <a:ext uri="{FF2B5EF4-FFF2-40B4-BE49-F238E27FC236}">
                  <a16:creationId xmlns:a16="http://schemas.microsoft.com/office/drawing/2014/main" id="{E31D5997-911A-AA12-A9AF-864AEAFBE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491" y="4820368"/>
              <a:ext cx="1392011" cy="14876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1600" dirty="0"/>
                <a:t>Enhancing the </a:t>
              </a:r>
              <a:r>
                <a:rPr lang="en-US" sz="1600" b="1" dirty="0"/>
                <a:t>collaboration</a:t>
              </a:r>
              <a:r>
                <a:rPr lang="en-US" sz="1600" dirty="0"/>
                <a:t> between institutions and compan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4587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E10D4-1CE9-A4E9-9E19-F3CDBEC103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AA2B05D-0CC0-7FDC-A1D1-FB6788915860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9E37A03-B52D-2D41-0305-5B366992739E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Activities and services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A7B08CCB-363D-2376-E39D-262596304B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88" b="48960"/>
          <a:stretch/>
        </p:blipFill>
        <p:spPr>
          <a:xfrm>
            <a:off x="-1" y="2066916"/>
            <a:ext cx="17340263" cy="7057832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1A43397F-7166-3C78-EA01-7502B3B1E63E}"/>
              </a:ext>
            </a:extLst>
          </p:cNvPr>
          <p:cNvSpPr/>
          <p:nvPr/>
        </p:nvSpPr>
        <p:spPr>
          <a:xfrm>
            <a:off x="-1" y="2017116"/>
            <a:ext cx="17338130" cy="7107632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19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708D9BF8-76B9-A7E0-F7EB-9C1384B91A94}"/>
              </a:ext>
            </a:extLst>
          </p:cNvPr>
          <p:cNvSpPr/>
          <p:nvPr/>
        </p:nvSpPr>
        <p:spPr>
          <a:xfrm>
            <a:off x="862339" y="2749097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8" name="TextBox 51">
            <a:extLst>
              <a:ext uri="{FF2B5EF4-FFF2-40B4-BE49-F238E27FC236}">
                <a16:creationId xmlns:a16="http://schemas.microsoft.com/office/drawing/2014/main" id="{D02E15ED-9EB5-8A4A-537D-595F3F89FE0E}"/>
              </a:ext>
            </a:extLst>
          </p:cNvPr>
          <p:cNvSpPr txBox="1"/>
          <p:nvPr/>
        </p:nvSpPr>
        <p:spPr>
          <a:xfrm>
            <a:off x="1998582" y="3042131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International Promotion</a:t>
            </a:r>
          </a:p>
        </p:txBody>
      </p:sp>
      <p:sp>
        <p:nvSpPr>
          <p:cNvPr id="29" name="Oval 22">
            <a:extLst>
              <a:ext uri="{FF2B5EF4-FFF2-40B4-BE49-F238E27FC236}">
                <a16:creationId xmlns:a16="http://schemas.microsoft.com/office/drawing/2014/main" id="{BBBBB5D0-EDB4-5440-4FAC-F34135648C55}"/>
              </a:ext>
            </a:extLst>
          </p:cNvPr>
          <p:cNvSpPr/>
          <p:nvPr/>
        </p:nvSpPr>
        <p:spPr>
          <a:xfrm>
            <a:off x="862339" y="4820503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2F497C1B-1AC5-FFE4-3914-F29AA2425F83}"/>
              </a:ext>
            </a:extLst>
          </p:cNvPr>
          <p:cNvSpPr txBox="1"/>
          <p:nvPr/>
        </p:nvSpPr>
        <p:spPr>
          <a:xfrm>
            <a:off x="1998582" y="5113537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Strategic Intelligence</a:t>
            </a:r>
          </a:p>
        </p:txBody>
      </p:sp>
      <p:sp>
        <p:nvSpPr>
          <p:cNvPr id="31" name="Oval 22">
            <a:extLst>
              <a:ext uri="{FF2B5EF4-FFF2-40B4-BE49-F238E27FC236}">
                <a16:creationId xmlns:a16="http://schemas.microsoft.com/office/drawing/2014/main" id="{B129CBAD-951C-09E2-272C-29BDC56C0355}"/>
              </a:ext>
            </a:extLst>
          </p:cNvPr>
          <p:cNvSpPr/>
          <p:nvPr/>
        </p:nvSpPr>
        <p:spPr>
          <a:xfrm>
            <a:off x="862339" y="7026195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32" name="TextBox 51">
            <a:extLst>
              <a:ext uri="{FF2B5EF4-FFF2-40B4-BE49-F238E27FC236}">
                <a16:creationId xmlns:a16="http://schemas.microsoft.com/office/drawing/2014/main" id="{0AF0633C-7AE3-7D6C-C652-C80FD9B51794}"/>
              </a:ext>
            </a:extLst>
          </p:cNvPr>
          <p:cNvSpPr txBox="1"/>
          <p:nvPr/>
        </p:nvSpPr>
        <p:spPr>
          <a:xfrm>
            <a:off x="1998582" y="7319229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Trade Policy</a:t>
            </a: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6A362F74-5BDA-B617-7184-05DF624880BA}"/>
              </a:ext>
            </a:extLst>
          </p:cNvPr>
          <p:cNvSpPr/>
          <p:nvPr/>
        </p:nvSpPr>
        <p:spPr>
          <a:xfrm>
            <a:off x="6126214" y="2749097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64983D57-8B27-632F-C9D4-0E72557FD838}"/>
              </a:ext>
            </a:extLst>
          </p:cNvPr>
          <p:cNvSpPr txBox="1"/>
          <p:nvPr/>
        </p:nvSpPr>
        <p:spPr>
          <a:xfrm>
            <a:off x="7262457" y="3042131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Working Groups</a:t>
            </a:r>
          </a:p>
        </p:txBody>
      </p:sp>
      <p:sp>
        <p:nvSpPr>
          <p:cNvPr id="35" name="Oval 22">
            <a:extLst>
              <a:ext uri="{FF2B5EF4-FFF2-40B4-BE49-F238E27FC236}">
                <a16:creationId xmlns:a16="http://schemas.microsoft.com/office/drawing/2014/main" id="{77ED5A8C-E0D6-CF7B-F605-2E8575BF82E3}"/>
              </a:ext>
            </a:extLst>
          </p:cNvPr>
          <p:cNvSpPr/>
          <p:nvPr/>
        </p:nvSpPr>
        <p:spPr>
          <a:xfrm>
            <a:off x="6126214" y="4820503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36" name="TextBox 51">
            <a:extLst>
              <a:ext uri="{FF2B5EF4-FFF2-40B4-BE49-F238E27FC236}">
                <a16:creationId xmlns:a16="http://schemas.microsoft.com/office/drawing/2014/main" id="{90256BBA-B551-BCC5-2D30-75AD44768EEB}"/>
              </a:ext>
            </a:extLst>
          </p:cNvPr>
          <p:cNvSpPr txBox="1"/>
          <p:nvPr/>
        </p:nvSpPr>
        <p:spPr>
          <a:xfrm>
            <a:off x="7262457" y="5113537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Forums</a:t>
            </a:r>
          </a:p>
        </p:txBody>
      </p:sp>
      <p:sp>
        <p:nvSpPr>
          <p:cNvPr id="37" name="Oval 22">
            <a:extLst>
              <a:ext uri="{FF2B5EF4-FFF2-40B4-BE49-F238E27FC236}">
                <a16:creationId xmlns:a16="http://schemas.microsoft.com/office/drawing/2014/main" id="{49776944-B826-9D6D-BF15-0A3B73B15EFA}"/>
              </a:ext>
            </a:extLst>
          </p:cNvPr>
          <p:cNvSpPr/>
          <p:nvPr/>
        </p:nvSpPr>
        <p:spPr>
          <a:xfrm>
            <a:off x="6126214" y="7026195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38" name="TextBox 51">
            <a:extLst>
              <a:ext uri="{FF2B5EF4-FFF2-40B4-BE49-F238E27FC236}">
                <a16:creationId xmlns:a16="http://schemas.microsoft.com/office/drawing/2014/main" id="{3DB3C051-BFE3-FEDE-B709-06D9802A3D61}"/>
              </a:ext>
            </a:extLst>
          </p:cNvPr>
          <p:cNvSpPr txBox="1"/>
          <p:nvPr/>
        </p:nvSpPr>
        <p:spPr>
          <a:xfrm>
            <a:off x="7262457" y="7319229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R&amp;D Project Office</a:t>
            </a:r>
          </a:p>
        </p:txBody>
      </p:sp>
      <p:sp>
        <p:nvSpPr>
          <p:cNvPr id="39" name="Oval 22">
            <a:extLst>
              <a:ext uri="{FF2B5EF4-FFF2-40B4-BE49-F238E27FC236}">
                <a16:creationId xmlns:a16="http://schemas.microsoft.com/office/drawing/2014/main" id="{C3F10FDF-D8FF-78D4-DFDA-8A1CD17260BD}"/>
              </a:ext>
            </a:extLst>
          </p:cNvPr>
          <p:cNvSpPr/>
          <p:nvPr/>
        </p:nvSpPr>
        <p:spPr>
          <a:xfrm>
            <a:off x="11476218" y="2749097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40" name="TextBox 51">
            <a:extLst>
              <a:ext uri="{FF2B5EF4-FFF2-40B4-BE49-F238E27FC236}">
                <a16:creationId xmlns:a16="http://schemas.microsoft.com/office/drawing/2014/main" id="{4316CD51-6BB3-4F3F-F6FD-9164E890103C}"/>
              </a:ext>
            </a:extLst>
          </p:cNvPr>
          <p:cNvSpPr txBox="1"/>
          <p:nvPr/>
        </p:nvSpPr>
        <p:spPr>
          <a:xfrm>
            <a:off x="12612461" y="3042131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Innovation &amp; Skills</a:t>
            </a:r>
          </a:p>
        </p:txBody>
      </p:sp>
      <p:sp>
        <p:nvSpPr>
          <p:cNvPr id="41" name="Oval 22">
            <a:extLst>
              <a:ext uri="{FF2B5EF4-FFF2-40B4-BE49-F238E27FC236}">
                <a16:creationId xmlns:a16="http://schemas.microsoft.com/office/drawing/2014/main" id="{1F20A076-5DDA-13CF-2472-926BEEBBB830}"/>
              </a:ext>
            </a:extLst>
          </p:cNvPr>
          <p:cNvSpPr/>
          <p:nvPr/>
        </p:nvSpPr>
        <p:spPr>
          <a:xfrm>
            <a:off x="11476218" y="4820503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42" name="TextBox 51">
            <a:extLst>
              <a:ext uri="{FF2B5EF4-FFF2-40B4-BE49-F238E27FC236}">
                <a16:creationId xmlns:a16="http://schemas.microsoft.com/office/drawing/2014/main" id="{ADCA2C04-0E91-8F4B-DF93-DEAA1196F8DD}"/>
              </a:ext>
            </a:extLst>
          </p:cNvPr>
          <p:cNvSpPr txBox="1"/>
          <p:nvPr/>
        </p:nvSpPr>
        <p:spPr>
          <a:xfrm>
            <a:off x="12612461" y="5113537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Institutional Relations</a:t>
            </a:r>
          </a:p>
        </p:txBody>
      </p:sp>
      <p:sp>
        <p:nvSpPr>
          <p:cNvPr id="43" name="Oval 22">
            <a:extLst>
              <a:ext uri="{FF2B5EF4-FFF2-40B4-BE49-F238E27FC236}">
                <a16:creationId xmlns:a16="http://schemas.microsoft.com/office/drawing/2014/main" id="{4E8D8E5B-86B2-EC3A-00FC-D58EAEB3A4FB}"/>
              </a:ext>
            </a:extLst>
          </p:cNvPr>
          <p:cNvSpPr/>
          <p:nvPr/>
        </p:nvSpPr>
        <p:spPr>
          <a:xfrm>
            <a:off x="11476218" y="7026195"/>
            <a:ext cx="900000" cy="90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44" name="TextBox 51">
            <a:extLst>
              <a:ext uri="{FF2B5EF4-FFF2-40B4-BE49-F238E27FC236}">
                <a16:creationId xmlns:a16="http://schemas.microsoft.com/office/drawing/2014/main" id="{4650B4AA-D730-98C0-F71D-529D4CC089F3}"/>
              </a:ext>
            </a:extLst>
          </p:cNvPr>
          <p:cNvSpPr txBox="1"/>
          <p:nvPr/>
        </p:nvSpPr>
        <p:spPr>
          <a:xfrm>
            <a:off x="12612461" y="7319229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Marketing &amp; Communication</a:t>
            </a:r>
          </a:p>
        </p:txBody>
      </p:sp>
      <p:sp>
        <p:nvSpPr>
          <p:cNvPr id="45" name="Freeform 8">
            <a:extLst>
              <a:ext uri="{FF2B5EF4-FFF2-40B4-BE49-F238E27FC236}">
                <a16:creationId xmlns:a16="http://schemas.microsoft.com/office/drawing/2014/main" id="{D7BC7970-AA98-45E3-0C6D-CE8A006865F3}"/>
              </a:ext>
            </a:extLst>
          </p:cNvPr>
          <p:cNvSpPr>
            <a:spLocks noEditPoints="1"/>
          </p:cNvSpPr>
          <p:nvPr/>
        </p:nvSpPr>
        <p:spPr bwMode="auto">
          <a:xfrm>
            <a:off x="1146382" y="5095048"/>
            <a:ext cx="352387" cy="360000"/>
          </a:xfrm>
          <a:custGeom>
            <a:avLst/>
            <a:gdLst>
              <a:gd name="T0" fmla="*/ 182 w 257"/>
              <a:gd name="T1" fmla="*/ 146 h 256"/>
              <a:gd name="T2" fmla="*/ 170 w 257"/>
              <a:gd name="T3" fmla="*/ 146 h 256"/>
              <a:gd name="T4" fmla="*/ 164 w 257"/>
              <a:gd name="T5" fmla="*/ 153 h 256"/>
              <a:gd name="T6" fmla="*/ 149 w 257"/>
              <a:gd name="T7" fmla="*/ 137 h 256"/>
              <a:gd name="T8" fmla="*/ 168 w 257"/>
              <a:gd name="T9" fmla="*/ 84 h 256"/>
              <a:gd name="T10" fmla="*/ 84 w 257"/>
              <a:gd name="T11" fmla="*/ 0 h 256"/>
              <a:gd name="T12" fmla="*/ 0 w 257"/>
              <a:gd name="T13" fmla="*/ 84 h 256"/>
              <a:gd name="T14" fmla="*/ 84 w 257"/>
              <a:gd name="T15" fmla="*/ 168 h 256"/>
              <a:gd name="T16" fmla="*/ 137 w 257"/>
              <a:gd name="T17" fmla="*/ 149 h 256"/>
              <a:gd name="T18" fmla="*/ 153 w 257"/>
              <a:gd name="T19" fmla="*/ 164 h 256"/>
              <a:gd name="T20" fmla="*/ 146 w 257"/>
              <a:gd name="T21" fmla="*/ 170 h 256"/>
              <a:gd name="T22" fmla="*/ 146 w 257"/>
              <a:gd name="T23" fmla="*/ 182 h 256"/>
              <a:gd name="T24" fmla="*/ 218 w 257"/>
              <a:gd name="T25" fmla="*/ 254 h 256"/>
              <a:gd name="T26" fmla="*/ 224 w 257"/>
              <a:gd name="T27" fmla="*/ 256 h 256"/>
              <a:gd name="T28" fmla="*/ 230 w 257"/>
              <a:gd name="T29" fmla="*/ 254 h 256"/>
              <a:gd name="T30" fmla="*/ 254 w 257"/>
              <a:gd name="T31" fmla="*/ 230 h 256"/>
              <a:gd name="T32" fmla="*/ 254 w 257"/>
              <a:gd name="T33" fmla="*/ 218 h 256"/>
              <a:gd name="T34" fmla="*/ 182 w 257"/>
              <a:gd name="T35" fmla="*/ 146 h 256"/>
              <a:gd name="T36" fmla="*/ 16 w 257"/>
              <a:gd name="T37" fmla="*/ 84 h 256"/>
              <a:gd name="T38" fmla="*/ 84 w 257"/>
              <a:gd name="T39" fmla="*/ 16 h 256"/>
              <a:gd name="T40" fmla="*/ 152 w 257"/>
              <a:gd name="T41" fmla="*/ 84 h 256"/>
              <a:gd name="T42" fmla="*/ 84 w 257"/>
              <a:gd name="T43" fmla="*/ 152 h 256"/>
              <a:gd name="T44" fmla="*/ 16 w 257"/>
              <a:gd name="T45" fmla="*/ 84 h 256"/>
              <a:gd name="T46" fmla="*/ 224 w 257"/>
              <a:gd name="T47" fmla="*/ 237 h 256"/>
              <a:gd name="T48" fmla="*/ 163 w 257"/>
              <a:gd name="T49" fmla="*/ 176 h 256"/>
              <a:gd name="T50" fmla="*/ 176 w 257"/>
              <a:gd name="T51" fmla="*/ 163 h 256"/>
              <a:gd name="T52" fmla="*/ 237 w 257"/>
              <a:gd name="T53" fmla="*/ 224 h 256"/>
              <a:gd name="T54" fmla="*/ 224 w 257"/>
              <a:gd name="T55" fmla="*/ 237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57" h="256">
                <a:moveTo>
                  <a:pt x="182" y="146"/>
                </a:moveTo>
                <a:cubicBezTo>
                  <a:pt x="179" y="143"/>
                  <a:pt x="173" y="143"/>
                  <a:pt x="170" y="146"/>
                </a:cubicBezTo>
                <a:cubicBezTo>
                  <a:pt x="164" y="153"/>
                  <a:pt x="164" y="153"/>
                  <a:pt x="164" y="153"/>
                </a:cubicBezTo>
                <a:cubicBezTo>
                  <a:pt x="149" y="137"/>
                  <a:pt x="149" y="137"/>
                  <a:pt x="149" y="137"/>
                </a:cubicBezTo>
                <a:cubicBezTo>
                  <a:pt x="161" y="123"/>
                  <a:pt x="168" y="104"/>
                  <a:pt x="168" y="84"/>
                </a:cubicBezTo>
                <a:cubicBezTo>
                  <a:pt x="168" y="38"/>
                  <a:pt x="130" y="0"/>
                  <a:pt x="84" y="0"/>
                </a:cubicBezTo>
                <a:cubicBezTo>
                  <a:pt x="38" y="0"/>
                  <a:pt x="0" y="38"/>
                  <a:pt x="0" y="84"/>
                </a:cubicBezTo>
                <a:cubicBezTo>
                  <a:pt x="0" y="130"/>
                  <a:pt x="38" y="168"/>
                  <a:pt x="84" y="168"/>
                </a:cubicBezTo>
                <a:cubicBezTo>
                  <a:pt x="104" y="168"/>
                  <a:pt x="123" y="161"/>
                  <a:pt x="137" y="149"/>
                </a:cubicBezTo>
                <a:cubicBezTo>
                  <a:pt x="153" y="164"/>
                  <a:pt x="153" y="164"/>
                  <a:pt x="153" y="164"/>
                </a:cubicBezTo>
                <a:cubicBezTo>
                  <a:pt x="146" y="170"/>
                  <a:pt x="146" y="170"/>
                  <a:pt x="146" y="170"/>
                </a:cubicBezTo>
                <a:cubicBezTo>
                  <a:pt x="143" y="173"/>
                  <a:pt x="143" y="179"/>
                  <a:pt x="146" y="182"/>
                </a:cubicBezTo>
                <a:cubicBezTo>
                  <a:pt x="218" y="254"/>
                  <a:pt x="218" y="254"/>
                  <a:pt x="218" y="254"/>
                </a:cubicBezTo>
                <a:cubicBezTo>
                  <a:pt x="220" y="255"/>
                  <a:pt x="222" y="256"/>
                  <a:pt x="224" y="256"/>
                </a:cubicBezTo>
                <a:cubicBezTo>
                  <a:pt x="226" y="256"/>
                  <a:pt x="228" y="255"/>
                  <a:pt x="230" y="254"/>
                </a:cubicBezTo>
                <a:cubicBezTo>
                  <a:pt x="254" y="230"/>
                  <a:pt x="254" y="230"/>
                  <a:pt x="254" y="230"/>
                </a:cubicBezTo>
                <a:cubicBezTo>
                  <a:pt x="257" y="227"/>
                  <a:pt x="257" y="221"/>
                  <a:pt x="254" y="218"/>
                </a:cubicBezTo>
                <a:lnTo>
                  <a:pt x="182" y="146"/>
                </a:lnTo>
                <a:close/>
                <a:moveTo>
                  <a:pt x="16" y="84"/>
                </a:moveTo>
                <a:cubicBezTo>
                  <a:pt x="16" y="47"/>
                  <a:pt x="47" y="16"/>
                  <a:pt x="84" y="16"/>
                </a:cubicBezTo>
                <a:cubicBezTo>
                  <a:pt x="121" y="16"/>
                  <a:pt x="152" y="47"/>
                  <a:pt x="152" y="84"/>
                </a:cubicBezTo>
                <a:cubicBezTo>
                  <a:pt x="152" y="121"/>
                  <a:pt x="121" y="152"/>
                  <a:pt x="84" y="152"/>
                </a:cubicBezTo>
                <a:cubicBezTo>
                  <a:pt x="47" y="152"/>
                  <a:pt x="16" y="121"/>
                  <a:pt x="16" y="84"/>
                </a:cubicBezTo>
                <a:close/>
                <a:moveTo>
                  <a:pt x="224" y="237"/>
                </a:moveTo>
                <a:cubicBezTo>
                  <a:pt x="163" y="176"/>
                  <a:pt x="163" y="176"/>
                  <a:pt x="163" y="176"/>
                </a:cubicBezTo>
                <a:cubicBezTo>
                  <a:pt x="176" y="163"/>
                  <a:pt x="176" y="163"/>
                  <a:pt x="176" y="163"/>
                </a:cubicBezTo>
                <a:cubicBezTo>
                  <a:pt x="237" y="224"/>
                  <a:pt x="237" y="224"/>
                  <a:pt x="237" y="224"/>
                </a:cubicBezTo>
                <a:lnTo>
                  <a:pt x="224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3701" tIns="41850" rIns="83701" bIns="4185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71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71" b="0" i="0" u="none" strike="noStrike" kern="1200" cap="none" spc="0" normalizeH="0" baseline="0" noProof="0" dirty="0">
              <a:ln>
                <a:noFill/>
              </a:ln>
              <a:solidFill>
                <a:srgbClr val="191C1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pic>
        <p:nvPicPr>
          <p:cNvPr id="46" name="Gráfico 45" descr="Europa y África en globo terráqueo">
            <a:extLst>
              <a:ext uri="{FF2B5EF4-FFF2-40B4-BE49-F238E27FC236}">
                <a16:creationId xmlns:a16="http://schemas.microsoft.com/office/drawing/2014/main" id="{9573679F-6E76-6048-4A48-AEC9706C13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2339" y="2929097"/>
            <a:ext cx="540000" cy="540000"/>
          </a:xfrm>
          <a:prstGeom prst="rect">
            <a:avLst/>
          </a:prstGeom>
        </p:spPr>
      </p:pic>
      <p:pic>
        <p:nvPicPr>
          <p:cNvPr id="47" name="Graphic 35" descr="Customer review outline">
            <a:extLst>
              <a:ext uri="{FF2B5EF4-FFF2-40B4-BE49-F238E27FC236}">
                <a16:creationId xmlns:a16="http://schemas.microsoft.com/office/drawing/2014/main" id="{24E13CE5-FED8-9D1F-A2B4-38C9813F41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83069" y="2880602"/>
            <a:ext cx="561639" cy="561639"/>
          </a:xfrm>
          <a:prstGeom prst="rect">
            <a:avLst/>
          </a:prstGeom>
        </p:spPr>
      </p:pic>
      <p:pic>
        <p:nvPicPr>
          <p:cNvPr id="48" name="Gráfico 47" descr="Bombilla">
            <a:extLst>
              <a:ext uri="{FF2B5EF4-FFF2-40B4-BE49-F238E27FC236}">
                <a16:creationId xmlns:a16="http://schemas.microsoft.com/office/drawing/2014/main" id="{ABA81EA7-F263-4870-C348-228D50CED5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8497" y="7252584"/>
            <a:ext cx="483900" cy="483900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:a16="http://schemas.microsoft.com/office/drawing/2014/main" id="{E9F22BF4-09A9-79A0-0E61-22978799EA7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8219" y="2983097"/>
            <a:ext cx="432000" cy="432000"/>
          </a:xfrm>
          <a:prstGeom prst="rect">
            <a:avLst/>
          </a:prstGeom>
        </p:spPr>
      </p:pic>
      <p:pic>
        <p:nvPicPr>
          <p:cNvPr id="50" name="Gráfico 49" descr="Vínculo">
            <a:extLst>
              <a:ext uri="{FF2B5EF4-FFF2-40B4-BE49-F238E27FC236}">
                <a16:creationId xmlns:a16="http://schemas.microsoft.com/office/drawing/2014/main" id="{8CC847AF-B55C-0B56-8C7B-458758CB26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655562" y="5009647"/>
            <a:ext cx="504000" cy="504000"/>
          </a:xfrm>
          <a:prstGeom prst="rect">
            <a:avLst/>
          </a:prstGeom>
        </p:spPr>
      </p:pic>
      <p:pic>
        <p:nvPicPr>
          <p:cNvPr id="51" name="Imagen 50">
            <a:extLst>
              <a:ext uri="{FF2B5EF4-FFF2-40B4-BE49-F238E27FC236}">
                <a16:creationId xmlns:a16="http://schemas.microsoft.com/office/drawing/2014/main" id="{0CB9F2C7-7466-64C0-A047-EEC1CD6463D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727" y="5113537"/>
            <a:ext cx="360000" cy="360000"/>
          </a:xfrm>
          <a:prstGeom prst="rect">
            <a:avLst/>
          </a:prstGeom>
        </p:spPr>
      </p:pic>
      <p:pic>
        <p:nvPicPr>
          <p:cNvPr id="52" name="Gráfico 51" descr="Diana">
            <a:extLst>
              <a:ext uri="{FF2B5EF4-FFF2-40B4-BE49-F238E27FC236}">
                <a16:creationId xmlns:a16="http://schemas.microsoft.com/office/drawing/2014/main" id="{5E7A1D49-ED51-6CB9-C339-8CB38DF04EB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7354" y="7290684"/>
            <a:ext cx="396000" cy="396000"/>
          </a:xfrm>
          <a:prstGeom prst="rect">
            <a:avLst/>
          </a:prstGeom>
        </p:spPr>
      </p:pic>
      <p:pic>
        <p:nvPicPr>
          <p:cNvPr id="53" name="Gráfico 52" descr="Megáfono">
            <a:extLst>
              <a:ext uri="{FF2B5EF4-FFF2-40B4-BE49-F238E27FC236}">
                <a16:creationId xmlns:a16="http://schemas.microsoft.com/office/drawing/2014/main" id="{AA030F1F-89DB-AEAA-5AF1-554B6E8EFD4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27562" y="7277984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6996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9386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F2BF2-F86B-7F9A-1D15-814F8C6D3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6F4966D-1D9E-CDCE-58B5-7C911F19E26E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003717F-F17B-0B6A-8320-4E2661C45FA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Main Trends of the sector </a:t>
            </a:r>
          </a:p>
        </p:txBody>
      </p:sp>
      <p:pic>
        <p:nvPicPr>
          <p:cNvPr id="5" name="Gráfico 4" descr="Gráfico de barras con tendencia alcista con relleno sólido">
            <a:extLst>
              <a:ext uri="{FF2B5EF4-FFF2-40B4-BE49-F238E27FC236}">
                <a16:creationId xmlns:a16="http://schemas.microsoft.com/office/drawing/2014/main" id="{24BC0903-8D71-4757-BE36-12F630C103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8531" y="2518989"/>
            <a:ext cx="518771" cy="518771"/>
          </a:xfrm>
          <a:prstGeom prst="rect">
            <a:avLst/>
          </a:prstGeom>
        </p:spPr>
      </p:pic>
      <p:pic>
        <p:nvPicPr>
          <p:cNvPr id="6" name="Gráfico 5" descr="Engranajes con relleno sólido">
            <a:extLst>
              <a:ext uri="{FF2B5EF4-FFF2-40B4-BE49-F238E27FC236}">
                <a16:creationId xmlns:a16="http://schemas.microsoft.com/office/drawing/2014/main" id="{49BC7837-C1AA-6AFE-6B6E-9C8485786C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61169" y="2518989"/>
            <a:ext cx="518771" cy="518771"/>
          </a:xfrm>
          <a:prstGeom prst="rect">
            <a:avLst/>
          </a:prstGeom>
        </p:spPr>
      </p:pic>
      <p:pic>
        <p:nvPicPr>
          <p:cNvPr id="7" name="Gráfico 6" descr="Martillo de juez con relleno sólido">
            <a:extLst>
              <a:ext uri="{FF2B5EF4-FFF2-40B4-BE49-F238E27FC236}">
                <a16:creationId xmlns:a16="http://schemas.microsoft.com/office/drawing/2014/main" id="{0550632F-D36C-5DA2-1C54-E2D08C1323E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64440" y="2518989"/>
            <a:ext cx="518771" cy="518771"/>
          </a:xfrm>
          <a:prstGeom prst="rect">
            <a:avLst/>
          </a:prstGeom>
        </p:spPr>
      </p:pic>
      <p:sp>
        <p:nvSpPr>
          <p:cNvPr id="18" name="TextBox 51">
            <a:extLst>
              <a:ext uri="{FF2B5EF4-FFF2-40B4-BE49-F238E27FC236}">
                <a16:creationId xmlns:a16="http://schemas.microsoft.com/office/drawing/2014/main" id="{A2133B51-70BC-459C-AF96-853A44F9E243}"/>
              </a:ext>
            </a:extLst>
          </p:cNvPr>
          <p:cNvSpPr txBox="1"/>
          <p:nvPr/>
        </p:nvSpPr>
        <p:spPr>
          <a:xfrm>
            <a:off x="920671" y="2053570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Markets </a:t>
            </a:r>
          </a:p>
        </p:txBody>
      </p:sp>
      <p:sp>
        <p:nvSpPr>
          <p:cNvPr id="19" name="TextBox 51">
            <a:extLst>
              <a:ext uri="{FF2B5EF4-FFF2-40B4-BE49-F238E27FC236}">
                <a16:creationId xmlns:a16="http://schemas.microsoft.com/office/drawing/2014/main" id="{232E28F7-0B13-43A0-AE84-27BBD6F34F9F}"/>
              </a:ext>
            </a:extLst>
          </p:cNvPr>
          <p:cNvSpPr txBox="1"/>
          <p:nvPr/>
        </p:nvSpPr>
        <p:spPr>
          <a:xfrm>
            <a:off x="920671" y="2619674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Technology  </a:t>
            </a:r>
          </a:p>
        </p:txBody>
      </p:sp>
      <p:sp>
        <p:nvSpPr>
          <p:cNvPr id="20" name="TextBox 51">
            <a:extLst>
              <a:ext uri="{FF2B5EF4-FFF2-40B4-BE49-F238E27FC236}">
                <a16:creationId xmlns:a16="http://schemas.microsoft.com/office/drawing/2014/main" id="{29805880-A939-45AA-A739-6240F8C2CC26}"/>
              </a:ext>
            </a:extLst>
          </p:cNvPr>
          <p:cNvSpPr txBox="1"/>
          <p:nvPr/>
        </p:nvSpPr>
        <p:spPr>
          <a:xfrm>
            <a:off x="964213" y="3333762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R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egulation </a:t>
            </a:r>
          </a:p>
        </p:txBody>
      </p:sp>
      <p:sp>
        <p:nvSpPr>
          <p:cNvPr id="21" name="Marcador de contenido 3">
            <a:extLst>
              <a:ext uri="{FF2B5EF4-FFF2-40B4-BE49-F238E27FC236}">
                <a16:creationId xmlns:a16="http://schemas.microsoft.com/office/drawing/2014/main" id="{068E92F1-56B9-45FC-BC7D-11760AFFFEDB}"/>
              </a:ext>
            </a:extLst>
          </p:cNvPr>
          <p:cNvSpPr txBox="1">
            <a:spLocks/>
          </p:cNvSpPr>
          <p:nvPr/>
        </p:nvSpPr>
        <p:spPr>
          <a:xfrm>
            <a:off x="749889" y="4068744"/>
            <a:ext cx="15840484" cy="108352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30046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75345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3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25575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7580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3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7626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2649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72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6954" indent="-325115" algn="l" defTabSz="1300460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s-ES" dirty="0" err="1">
                <a:latin typeface="Arial"/>
                <a:cs typeface="Arial"/>
              </a:rPr>
              <a:t>Main</a:t>
            </a:r>
            <a:r>
              <a:rPr lang="es-ES" dirty="0">
                <a:latin typeface="Arial"/>
                <a:cs typeface="Arial"/>
              </a:rPr>
              <a:t> </a:t>
            </a:r>
            <a:r>
              <a:rPr lang="es-ES" dirty="0" err="1">
                <a:latin typeface="Arial"/>
                <a:cs typeface="Arial"/>
              </a:rPr>
              <a:t>challenges</a:t>
            </a:r>
            <a:r>
              <a:rPr lang="es-ES" dirty="0">
                <a:latin typeface="Arial"/>
                <a:cs typeface="Arial"/>
              </a:rPr>
              <a:t> </a:t>
            </a:r>
            <a:r>
              <a:rPr lang="es-ES" dirty="0" err="1">
                <a:latin typeface="Arial"/>
                <a:cs typeface="Arial"/>
              </a:rPr>
              <a:t>of</a:t>
            </a:r>
            <a:r>
              <a:rPr lang="es-ES" dirty="0">
                <a:latin typeface="Arial"/>
                <a:cs typeface="Arial"/>
              </a:rPr>
              <a:t> </a:t>
            </a:r>
            <a:r>
              <a:rPr lang="es-ES" dirty="0" err="1">
                <a:latin typeface="Arial"/>
                <a:cs typeface="Arial"/>
              </a:rPr>
              <a:t>the</a:t>
            </a:r>
            <a:r>
              <a:rPr lang="es-ES" dirty="0">
                <a:latin typeface="Arial"/>
                <a:cs typeface="Arial"/>
              </a:rPr>
              <a:t> </a:t>
            </a:r>
            <a:r>
              <a:rPr lang="es-ES" dirty="0" err="1">
                <a:latin typeface="Arial"/>
                <a:cs typeface="Arial"/>
              </a:rPr>
              <a:t>railway</a:t>
            </a:r>
            <a:r>
              <a:rPr lang="es-ES" dirty="0">
                <a:latin typeface="Arial"/>
                <a:cs typeface="Arial"/>
              </a:rPr>
              <a:t> sector </a:t>
            </a:r>
            <a:r>
              <a:rPr lang="es-ES" dirty="0" err="1">
                <a:latin typeface="Arial"/>
                <a:cs typeface="Arial"/>
              </a:rPr>
              <a:t>globally</a:t>
            </a:r>
            <a:endParaRPr lang="es-ES" dirty="0">
              <a:latin typeface="Arial"/>
              <a:cs typeface="Arial"/>
            </a:endParaRPr>
          </a:p>
        </p:txBody>
      </p:sp>
      <p:sp>
        <p:nvSpPr>
          <p:cNvPr id="22" name="TextBox 51">
            <a:extLst>
              <a:ext uri="{FF2B5EF4-FFF2-40B4-BE49-F238E27FC236}">
                <a16:creationId xmlns:a16="http://schemas.microsoft.com/office/drawing/2014/main" id="{6E9B23EA-CFAA-4CC0-9481-84E958CB1867}"/>
              </a:ext>
            </a:extLst>
          </p:cNvPr>
          <p:cNvSpPr txBox="1"/>
          <p:nvPr/>
        </p:nvSpPr>
        <p:spPr>
          <a:xfrm>
            <a:off x="920671" y="5294478"/>
            <a:ext cx="5712358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Financing and Public Private Partnerships  </a:t>
            </a:r>
            <a:endParaRPr kumimoji="0" lang="es-ES" sz="2000" b="1" i="0" u="none" strike="noStrike" kern="1200" cap="none" spc="0" normalizeH="0" baseline="0" noProof="1">
              <a:ln>
                <a:noFill/>
              </a:ln>
              <a:solidFill>
                <a:srgbClr val="CC34CC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3" name="TextBox 51">
            <a:extLst>
              <a:ext uri="{FF2B5EF4-FFF2-40B4-BE49-F238E27FC236}">
                <a16:creationId xmlns:a16="http://schemas.microsoft.com/office/drawing/2014/main" id="{8B5F691C-C612-4D47-B644-4AB4D88A9CFB}"/>
              </a:ext>
            </a:extLst>
          </p:cNvPr>
          <p:cNvSpPr txBox="1"/>
          <p:nvPr/>
        </p:nvSpPr>
        <p:spPr>
          <a:xfrm>
            <a:off x="920671" y="5972199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Visibility of the sector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</a:t>
            </a:r>
          </a:p>
        </p:txBody>
      </p:sp>
      <p:sp>
        <p:nvSpPr>
          <p:cNvPr id="24" name="TextBox 51">
            <a:extLst>
              <a:ext uri="{FF2B5EF4-FFF2-40B4-BE49-F238E27FC236}">
                <a16:creationId xmlns:a16="http://schemas.microsoft.com/office/drawing/2014/main" id="{E1FC5BCA-C983-42B9-B0C7-4ACF7D0B01A4}"/>
              </a:ext>
            </a:extLst>
          </p:cNvPr>
          <p:cNvSpPr txBox="1"/>
          <p:nvPr/>
        </p:nvSpPr>
        <p:spPr>
          <a:xfrm>
            <a:off x="920671" y="6649719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Digitalization  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</a:t>
            </a:r>
          </a:p>
        </p:txBody>
      </p:sp>
      <p:sp>
        <p:nvSpPr>
          <p:cNvPr id="25" name="TextBox 51">
            <a:extLst>
              <a:ext uri="{FF2B5EF4-FFF2-40B4-BE49-F238E27FC236}">
                <a16:creationId xmlns:a16="http://schemas.microsoft.com/office/drawing/2014/main" id="{BBBC7154-96BD-46D5-A47F-3225B701D159}"/>
              </a:ext>
            </a:extLst>
          </p:cNvPr>
          <p:cNvSpPr txBox="1"/>
          <p:nvPr/>
        </p:nvSpPr>
        <p:spPr>
          <a:xfrm>
            <a:off x="920671" y="7326555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Intermodality  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</a:t>
            </a:r>
          </a:p>
        </p:txBody>
      </p:sp>
      <p:sp>
        <p:nvSpPr>
          <p:cNvPr id="26" name="TextBox 51">
            <a:extLst>
              <a:ext uri="{FF2B5EF4-FFF2-40B4-BE49-F238E27FC236}">
                <a16:creationId xmlns:a16="http://schemas.microsoft.com/office/drawing/2014/main" id="{D4BE71D9-CCAC-45AE-8590-34EFCAEF352B}"/>
              </a:ext>
            </a:extLst>
          </p:cNvPr>
          <p:cNvSpPr txBox="1"/>
          <p:nvPr/>
        </p:nvSpPr>
        <p:spPr>
          <a:xfrm>
            <a:off x="920671" y="8046732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Sustainability  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</a:t>
            </a:r>
          </a:p>
        </p:txBody>
      </p:sp>
      <p:sp>
        <p:nvSpPr>
          <p:cNvPr id="27" name="TextBox 51">
            <a:extLst>
              <a:ext uri="{FF2B5EF4-FFF2-40B4-BE49-F238E27FC236}">
                <a16:creationId xmlns:a16="http://schemas.microsoft.com/office/drawing/2014/main" id="{A255FCC2-8588-4732-A9DE-2AB9BAAB5E8A}"/>
              </a:ext>
            </a:extLst>
          </p:cNvPr>
          <p:cNvSpPr txBox="1"/>
          <p:nvPr/>
        </p:nvSpPr>
        <p:spPr>
          <a:xfrm>
            <a:off x="920671" y="8642966"/>
            <a:ext cx="415847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1">
                <a:solidFill>
                  <a:srgbClr val="CC34CC"/>
                </a:solidFill>
                <a:latin typeface="Arial" panose="020B0604020202020204"/>
                <a:sym typeface="Helvetica Light"/>
              </a:rPr>
              <a:t>Talent </a:t>
            </a:r>
            <a:r>
              <a:rPr kumimoji="0" lang="es-ES" sz="2000" b="1" i="0" u="none" strike="noStrike" kern="1200" cap="none" spc="0" normalizeH="0" baseline="0" noProof="1">
                <a:ln>
                  <a:noFill/>
                </a:ln>
                <a:solidFill>
                  <a:srgbClr val="CC34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9743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Who we are</a:t>
            </a:r>
          </a:p>
        </p:txBody>
      </p:sp>
      <p:pic>
        <p:nvPicPr>
          <p:cNvPr id="5" name="Picture 2" descr="Movimiento Borroso De La Estación De Ferrocarril Iluminada En La Ciudad">
            <a:extLst>
              <a:ext uri="{FF2B5EF4-FFF2-40B4-BE49-F238E27FC236}">
                <a16:creationId xmlns:a16="http://schemas.microsoft.com/office/drawing/2014/main" id="{8675EEA6-3B58-BB1A-A333-A0C4750B5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22856"/>
            <a:ext cx="17338129" cy="7177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F9C37FD-E84F-B555-C294-273A0B569FCB}"/>
              </a:ext>
            </a:extLst>
          </p:cNvPr>
          <p:cNvSpPr/>
          <p:nvPr/>
        </p:nvSpPr>
        <p:spPr>
          <a:xfrm>
            <a:off x="-1" y="1922856"/>
            <a:ext cx="17338130" cy="7177604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4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19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18663518-2D56-B68A-DCDE-984433A2B37B}"/>
              </a:ext>
            </a:extLst>
          </p:cNvPr>
          <p:cNvGrpSpPr/>
          <p:nvPr/>
        </p:nvGrpSpPr>
        <p:grpSpPr>
          <a:xfrm>
            <a:off x="-337550" y="2175538"/>
            <a:ext cx="17724371" cy="6748742"/>
            <a:chOff x="-337550" y="1492761"/>
            <a:chExt cx="17724371" cy="6748742"/>
          </a:xfrm>
        </p:grpSpPr>
        <p:grpSp>
          <p:nvGrpSpPr>
            <p:cNvPr id="11" name="Grupo 10">
              <a:extLst>
                <a:ext uri="{FF2B5EF4-FFF2-40B4-BE49-F238E27FC236}">
                  <a16:creationId xmlns:a16="http://schemas.microsoft.com/office/drawing/2014/main" id="{E4659B69-8428-419B-179D-EE915C42787F}"/>
                </a:ext>
              </a:extLst>
            </p:cNvPr>
            <p:cNvGrpSpPr>
              <a:grpSpLocks noChangeAspect="1"/>
            </p:cNvGrpSpPr>
            <p:nvPr/>
          </p:nvGrpSpPr>
          <p:grpSpPr>
            <a:xfrm rot="12559769">
              <a:off x="5429791" y="1492761"/>
              <a:ext cx="6523646" cy="6748742"/>
              <a:chOff x="5198401" y="1283608"/>
              <a:chExt cx="6952490" cy="7192383"/>
            </a:xfrm>
          </p:grpSpPr>
          <p:sp>
            <p:nvSpPr>
              <p:cNvPr id="49" name="Shape">
                <a:extLst>
                  <a:ext uri="{FF2B5EF4-FFF2-40B4-BE49-F238E27FC236}">
                    <a16:creationId xmlns:a16="http://schemas.microsoft.com/office/drawing/2014/main" id="{F21415C7-6A64-A239-6A0B-BD60097746BC}"/>
                  </a:ext>
                </a:extLst>
              </p:cNvPr>
              <p:cNvSpPr/>
              <p:nvPr/>
            </p:nvSpPr>
            <p:spPr>
              <a:xfrm>
                <a:off x="8675380" y="2222844"/>
                <a:ext cx="3475511" cy="26626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19" h="20853" extrusionOk="0">
                    <a:moveTo>
                      <a:pt x="20985" y="12988"/>
                    </a:moveTo>
                    <a:cubicBezTo>
                      <a:pt x="19987" y="8547"/>
                      <a:pt x="18165" y="4558"/>
                      <a:pt x="15750" y="1318"/>
                    </a:cubicBezTo>
                    <a:cubicBezTo>
                      <a:pt x="14213" y="-747"/>
                      <a:pt x="11568" y="-323"/>
                      <a:pt x="10471" y="2153"/>
                    </a:cubicBezTo>
                    <a:lnTo>
                      <a:pt x="7902" y="7882"/>
                    </a:lnTo>
                    <a:cubicBezTo>
                      <a:pt x="7409" y="8985"/>
                      <a:pt x="6322" y="9310"/>
                      <a:pt x="5477" y="8674"/>
                    </a:cubicBezTo>
                    <a:lnTo>
                      <a:pt x="5466" y="8660"/>
                    </a:lnTo>
                    <a:lnTo>
                      <a:pt x="0" y="20853"/>
                    </a:lnTo>
                    <a:lnTo>
                      <a:pt x="10932" y="20853"/>
                    </a:lnTo>
                    <a:cubicBezTo>
                      <a:pt x="10932" y="20839"/>
                      <a:pt x="10932" y="20839"/>
                      <a:pt x="10932" y="20825"/>
                    </a:cubicBezTo>
                    <a:cubicBezTo>
                      <a:pt x="10932" y="19552"/>
                      <a:pt x="11689" y="18505"/>
                      <a:pt x="12677" y="18505"/>
                    </a:cubicBezTo>
                    <a:lnTo>
                      <a:pt x="17813" y="18505"/>
                    </a:lnTo>
                    <a:cubicBezTo>
                      <a:pt x="20020" y="18505"/>
                      <a:pt x="21600" y="15732"/>
                      <a:pt x="20985" y="12988"/>
                    </a:cubicBezTo>
                    <a:close/>
                  </a:path>
                </a:pathLst>
              </a:custGeom>
              <a:solidFill>
                <a:srgbClr val="6D8C9B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54000" tIns="46800" rIns="54000" anchor="ctr" anchorCtr="1"/>
              <a:lstStyle/>
              <a:p>
                <a:pPr marL="92075" algn="ctr" defTabSz="584200" fontAlgn="base">
                  <a:spcBef>
                    <a:spcPct val="3000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FFFFFF"/>
                  </a:solidFill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0" name="Shape">
                <a:extLst>
                  <a:ext uri="{FF2B5EF4-FFF2-40B4-BE49-F238E27FC236}">
                    <a16:creationId xmlns:a16="http://schemas.microsoft.com/office/drawing/2014/main" id="{D8E51B0A-C731-E442-DEEE-C42464B2EE0E}"/>
                  </a:ext>
                </a:extLst>
              </p:cNvPr>
              <p:cNvSpPr/>
              <p:nvPr/>
            </p:nvSpPr>
            <p:spPr>
              <a:xfrm>
                <a:off x="8675380" y="4877992"/>
                <a:ext cx="3475503" cy="26619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19" h="20861" extrusionOk="0">
                    <a:moveTo>
                      <a:pt x="10932" y="28"/>
                    </a:moveTo>
                    <a:lnTo>
                      <a:pt x="10932" y="0"/>
                    </a:lnTo>
                    <a:lnTo>
                      <a:pt x="0" y="0"/>
                    </a:lnTo>
                    <a:lnTo>
                      <a:pt x="5466" y="12201"/>
                    </a:lnTo>
                    <a:cubicBezTo>
                      <a:pt x="5466" y="12201"/>
                      <a:pt x="5477" y="12187"/>
                      <a:pt x="5477" y="12187"/>
                    </a:cubicBezTo>
                    <a:cubicBezTo>
                      <a:pt x="6333" y="11550"/>
                      <a:pt x="7409" y="11876"/>
                      <a:pt x="7902" y="12980"/>
                    </a:cubicBezTo>
                    <a:lnTo>
                      <a:pt x="10471" y="18712"/>
                    </a:lnTo>
                    <a:cubicBezTo>
                      <a:pt x="11579" y="21190"/>
                      <a:pt x="14224" y="21600"/>
                      <a:pt x="15750" y="19548"/>
                    </a:cubicBezTo>
                    <a:cubicBezTo>
                      <a:pt x="18165" y="16306"/>
                      <a:pt x="19998" y="12315"/>
                      <a:pt x="20985" y="7870"/>
                    </a:cubicBezTo>
                    <a:cubicBezTo>
                      <a:pt x="21600" y="5110"/>
                      <a:pt x="20020" y="2350"/>
                      <a:pt x="17791" y="2350"/>
                    </a:cubicBezTo>
                    <a:lnTo>
                      <a:pt x="12655" y="2350"/>
                    </a:lnTo>
                    <a:cubicBezTo>
                      <a:pt x="11700" y="2336"/>
                      <a:pt x="10932" y="1288"/>
                      <a:pt x="10932" y="2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54000" tIns="46800" rIns="54000" anchor="ctr" anchorCtr="1"/>
              <a:lstStyle/>
              <a:p>
                <a:pPr marL="92075" algn="ctr" defTabSz="584200" fontAlgn="base">
                  <a:spcBef>
                    <a:spcPct val="3000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FFFFFF"/>
                  </a:solidFill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1" name="Shape">
                <a:extLst>
                  <a:ext uri="{FF2B5EF4-FFF2-40B4-BE49-F238E27FC236}">
                    <a16:creationId xmlns:a16="http://schemas.microsoft.com/office/drawing/2014/main" id="{3432863C-4F8B-49A4-A690-465C88DB6594}"/>
                  </a:ext>
                </a:extLst>
              </p:cNvPr>
              <p:cNvSpPr/>
              <p:nvPr/>
            </p:nvSpPr>
            <p:spPr>
              <a:xfrm>
                <a:off x="7389819" y="1283608"/>
                <a:ext cx="2560627" cy="3598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910" h="21600" extrusionOk="0">
                    <a:moveTo>
                      <a:pt x="19337" y="5465"/>
                    </a:moveTo>
                    <a:cubicBezTo>
                      <a:pt x="20755" y="3567"/>
                      <a:pt x="19421" y="1149"/>
                      <a:pt x="16668" y="629"/>
                    </a:cubicBezTo>
                    <a:cubicBezTo>
                      <a:pt x="14519" y="217"/>
                      <a:pt x="12272" y="0"/>
                      <a:pt x="9955" y="0"/>
                    </a:cubicBezTo>
                    <a:cubicBezTo>
                      <a:pt x="7638" y="0"/>
                      <a:pt x="5391" y="217"/>
                      <a:pt x="3242" y="629"/>
                    </a:cubicBezTo>
                    <a:cubicBezTo>
                      <a:pt x="489" y="1149"/>
                      <a:pt x="-845" y="3567"/>
                      <a:pt x="573" y="5465"/>
                    </a:cubicBezTo>
                    <a:lnTo>
                      <a:pt x="3860" y="9867"/>
                    </a:lnTo>
                    <a:cubicBezTo>
                      <a:pt x="4492" y="10713"/>
                      <a:pt x="4070" y="11765"/>
                      <a:pt x="2989" y="12242"/>
                    </a:cubicBezTo>
                    <a:lnTo>
                      <a:pt x="2961" y="12253"/>
                    </a:lnTo>
                    <a:lnTo>
                      <a:pt x="9955" y="21600"/>
                    </a:lnTo>
                    <a:lnTo>
                      <a:pt x="16949" y="12253"/>
                    </a:lnTo>
                    <a:cubicBezTo>
                      <a:pt x="16935" y="12253"/>
                      <a:pt x="16935" y="12242"/>
                      <a:pt x="16921" y="12242"/>
                    </a:cubicBezTo>
                    <a:cubicBezTo>
                      <a:pt x="15825" y="11754"/>
                      <a:pt x="15418" y="10702"/>
                      <a:pt x="16050" y="9867"/>
                    </a:cubicBezTo>
                    <a:lnTo>
                      <a:pt x="19337" y="5465"/>
                    </a:lnTo>
                    <a:close/>
                  </a:path>
                </a:pathLst>
              </a:custGeom>
              <a:solidFill>
                <a:srgbClr val="4B4747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54000" tIns="46800" rIns="54000" anchor="ctr" anchorCtr="1"/>
              <a:lstStyle/>
              <a:p>
                <a:pPr marL="92075" marR="0" lvl="0" indent="0" algn="ctr" defTabSz="5842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2" name="Shape">
                <a:extLst>
                  <a:ext uri="{FF2B5EF4-FFF2-40B4-BE49-F238E27FC236}">
                    <a16:creationId xmlns:a16="http://schemas.microsoft.com/office/drawing/2014/main" id="{3E205AF7-8C05-C615-00BC-1E6F25DB4728}"/>
                  </a:ext>
                </a:extLst>
              </p:cNvPr>
              <p:cNvSpPr/>
              <p:nvPr/>
            </p:nvSpPr>
            <p:spPr>
              <a:xfrm>
                <a:off x="7389819" y="4877991"/>
                <a:ext cx="2560627" cy="3598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910" h="21600" extrusionOk="0">
                    <a:moveTo>
                      <a:pt x="16921" y="9358"/>
                    </a:moveTo>
                    <a:lnTo>
                      <a:pt x="16949" y="9347"/>
                    </a:lnTo>
                    <a:lnTo>
                      <a:pt x="9955" y="0"/>
                    </a:lnTo>
                    <a:lnTo>
                      <a:pt x="2961" y="9347"/>
                    </a:lnTo>
                    <a:cubicBezTo>
                      <a:pt x="2975" y="9347"/>
                      <a:pt x="2975" y="9358"/>
                      <a:pt x="2989" y="9358"/>
                    </a:cubicBezTo>
                    <a:cubicBezTo>
                      <a:pt x="4085" y="9846"/>
                      <a:pt x="4492" y="10898"/>
                      <a:pt x="3860" y="11733"/>
                    </a:cubicBezTo>
                    <a:lnTo>
                      <a:pt x="573" y="16135"/>
                    </a:lnTo>
                    <a:cubicBezTo>
                      <a:pt x="-845" y="18033"/>
                      <a:pt x="489" y="20451"/>
                      <a:pt x="3242" y="20971"/>
                    </a:cubicBezTo>
                    <a:cubicBezTo>
                      <a:pt x="5391" y="21383"/>
                      <a:pt x="7638" y="21600"/>
                      <a:pt x="9955" y="21600"/>
                    </a:cubicBezTo>
                    <a:cubicBezTo>
                      <a:pt x="12272" y="21600"/>
                      <a:pt x="14519" y="21383"/>
                      <a:pt x="16668" y="20971"/>
                    </a:cubicBezTo>
                    <a:cubicBezTo>
                      <a:pt x="19421" y="20451"/>
                      <a:pt x="20755" y="18033"/>
                      <a:pt x="19337" y="16135"/>
                    </a:cubicBezTo>
                    <a:lnTo>
                      <a:pt x="16050" y="11733"/>
                    </a:lnTo>
                    <a:cubicBezTo>
                      <a:pt x="15418" y="10898"/>
                      <a:pt x="15840" y="9846"/>
                      <a:pt x="16921" y="9358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12700">
                <a:miter lim="400000"/>
              </a:ln>
            </p:spPr>
            <p:txBody>
              <a:bodyPr lIns="54187" tIns="54187" rIns="54187" bIns="54187" anchor="ctr"/>
              <a:lstStyle/>
              <a:p>
                <a:pPr defTabSz="584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4267" dirty="0">
                  <a:solidFill>
                    <a:srgbClr val="FFFFFF"/>
                  </a:solidFill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3" name="Shape">
                <a:extLst>
                  <a:ext uri="{FF2B5EF4-FFF2-40B4-BE49-F238E27FC236}">
                    <a16:creationId xmlns:a16="http://schemas.microsoft.com/office/drawing/2014/main" id="{3D5B4261-0E60-E1AC-2B92-A20B467FF824}"/>
                  </a:ext>
                </a:extLst>
              </p:cNvPr>
              <p:cNvSpPr/>
              <p:nvPr/>
            </p:nvSpPr>
            <p:spPr>
              <a:xfrm>
                <a:off x="5198401" y="2222846"/>
                <a:ext cx="3475499" cy="26619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19" h="20861" extrusionOk="0">
                    <a:moveTo>
                      <a:pt x="21119" y="20861"/>
                    </a:moveTo>
                    <a:lnTo>
                      <a:pt x="15653" y="8660"/>
                    </a:lnTo>
                    <a:cubicBezTo>
                      <a:pt x="15653" y="8660"/>
                      <a:pt x="15642" y="8674"/>
                      <a:pt x="15642" y="8674"/>
                    </a:cubicBezTo>
                    <a:cubicBezTo>
                      <a:pt x="14786" y="9311"/>
                      <a:pt x="13710" y="8985"/>
                      <a:pt x="13217" y="7881"/>
                    </a:cubicBezTo>
                    <a:lnTo>
                      <a:pt x="10648" y="2149"/>
                    </a:lnTo>
                    <a:cubicBezTo>
                      <a:pt x="9540" y="-329"/>
                      <a:pt x="6895" y="-739"/>
                      <a:pt x="5369" y="1313"/>
                    </a:cubicBezTo>
                    <a:cubicBezTo>
                      <a:pt x="2943" y="4555"/>
                      <a:pt x="1121" y="8546"/>
                      <a:pt x="134" y="12991"/>
                    </a:cubicBezTo>
                    <a:cubicBezTo>
                      <a:pt x="-481" y="15751"/>
                      <a:pt x="1100" y="18511"/>
                      <a:pt x="3328" y="18511"/>
                    </a:cubicBezTo>
                    <a:lnTo>
                      <a:pt x="8464" y="18511"/>
                    </a:lnTo>
                    <a:cubicBezTo>
                      <a:pt x="9452" y="18511"/>
                      <a:pt x="10209" y="19559"/>
                      <a:pt x="10209" y="20833"/>
                    </a:cubicBezTo>
                    <a:lnTo>
                      <a:pt x="10209" y="20861"/>
                    </a:lnTo>
                    <a:lnTo>
                      <a:pt x="21119" y="208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54000" tIns="46800" rIns="54000" anchor="ctr" anchorCtr="1"/>
              <a:lstStyle/>
              <a:p>
                <a:pPr marL="92075" marR="0" lvl="0" indent="0" algn="ctr" defTabSz="5842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4" name="Shape">
                <a:extLst>
                  <a:ext uri="{FF2B5EF4-FFF2-40B4-BE49-F238E27FC236}">
                    <a16:creationId xmlns:a16="http://schemas.microsoft.com/office/drawing/2014/main" id="{1AD308DC-E0B6-0597-E981-436854856CB5}"/>
                  </a:ext>
                </a:extLst>
              </p:cNvPr>
              <p:cNvSpPr/>
              <p:nvPr/>
            </p:nvSpPr>
            <p:spPr>
              <a:xfrm>
                <a:off x="5198401" y="4877990"/>
                <a:ext cx="3479108" cy="26626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20" h="20853" extrusionOk="0">
                    <a:moveTo>
                      <a:pt x="21120" y="0"/>
                    </a:moveTo>
                    <a:lnTo>
                      <a:pt x="10199" y="0"/>
                    </a:lnTo>
                    <a:cubicBezTo>
                      <a:pt x="10199" y="14"/>
                      <a:pt x="10199" y="14"/>
                      <a:pt x="10199" y="28"/>
                    </a:cubicBezTo>
                    <a:cubicBezTo>
                      <a:pt x="10199" y="1301"/>
                      <a:pt x="9443" y="2348"/>
                      <a:pt x="8456" y="2348"/>
                    </a:cubicBezTo>
                    <a:lnTo>
                      <a:pt x="3325" y="2348"/>
                    </a:lnTo>
                    <a:cubicBezTo>
                      <a:pt x="1099" y="2348"/>
                      <a:pt x="-480" y="5106"/>
                      <a:pt x="134" y="7865"/>
                    </a:cubicBezTo>
                    <a:cubicBezTo>
                      <a:pt x="1132" y="12306"/>
                      <a:pt x="2952" y="16295"/>
                      <a:pt x="5364" y="19535"/>
                    </a:cubicBezTo>
                    <a:cubicBezTo>
                      <a:pt x="6899" y="21600"/>
                      <a:pt x="9542" y="21176"/>
                      <a:pt x="10638" y="18700"/>
                    </a:cubicBezTo>
                    <a:lnTo>
                      <a:pt x="13204" y="12971"/>
                    </a:lnTo>
                    <a:cubicBezTo>
                      <a:pt x="13697" y="11868"/>
                      <a:pt x="14783" y="11543"/>
                      <a:pt x="15627" y="12179"/>
                    </a:cubicBezTo>
                    <a:lnTo>
                      <a:pt x="15638" y="12193"/>
                    </a:lnTo>
                    <a:lnTo>
                      <a:pt x="21120" y="0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54000" tIns="46800" rIns="54000" anchor="ctr" anchorCtr="1"/>
              <a:lstStyle/>
              <a:p>
                <a:pPr marL="92075" algn="ctr" defTabSz="584200" fontAlgn="base">
                  <a:spcBef>
                    <a:spcPct val="3000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5" name="Circle">
                <a:extLst>
                  <a:ext uri="{FF2B5EF4-FFF2-40B4-BE49-F238E27FC236}">
                    <a16:creationId xmlns:a16="http://schemas.microsoft.com/office/drawing/2014/main" id="{B8263CCA-9705-F122-EDB8-2B59563E9D8F}"/>
                  </a:ext>
                </a:extLst>
              </p:cNvPr>
              <p:cNvSpPr/>
              <p:nvPr/>
            </p:nvSpPr>
            <p:spPr>
              <a:xfrm>
                <a:off x="7230402" y="3451076"/>
                <a:ext cx="2879117" cy="287912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54187" tIns="54187" rIns="54187" bIns="54187" anchor="ctr"/>
              <a:lstStyle/>
              <a:p>
                <a:pPr marL="0" marR="0" lvl="0" indent="0" algn="l" defTabSz="584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3000">
                    <a:solidFill>
                      <a:srgbClr val="FFFFFF"/>
                    </a:solidFill>
                  </a:defRPr>
                </a:pPr>
                <a:endParaRPr kumimoji="0" lang="en-GB" sz="426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endParaRPr>
              </a:p>
            </p:txBody>
          </p:sp>
          <p:sp>
            <p:nvSpPr>
              <p:cNvPr id="56" name="Circle">
                <a:extLst>
                  <a:ext uri="{FF2B5EF4-FFF2-40B4-BE49-F238E27FC236}">
                    <a16:creationId xmlns:a16="http://schemas.microsoft.com/office/drawing/2014/main" id="{2EC0AE76-EF88-09D9-B6BE-8BFDC1960120}"/>
                  </a:ext>
                </a:extLst>
              </p:cNvPr>
              <p:cNvSpPr/>
              <p:nvPr/>
            </p:nvSpPr>
            <p:spPr>
              <a:xfrm>
                <a:off x="7374900" y="3595575"/>
                <a:ext cx="2590121" cy="2590130"/>
              </a:xfrm>
              <a:prstGeom prst="ellipse">
                <a:avLst/>
              </a:prstGeom>
              <a:solidFill>
                <a:schemeClr val="bg1"/>
              </a:solidFill>
              <a:ln w="12700">
                <a:miter lim="400000"/>
              </a:ln>
            </p:spPr>
            <p:txBody>
              <a:bodyPr lIns="54187" tIns="54187" rIns="54187" bIns="54187" anchor="ctr"/>
              <a:lstStyle/>
              <a:p>
                <a:pPr marL="0" marR="0" lvl="0" indent="0" algn="l" defTabSz="584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3000">
                    <a:solidFill>
                      <a:srgbClr val="FFFFFF"/>
                    </a:solidFill>
                  </a:defRPr>
                </a:pPr>
                <a:endParaRPr kumimoji="0" lang="en-GB" sz="426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endParaRPr>
              </a:p>
            </p:txBody>
          </p:sp>
        </p:grpSp>
        <p:sp>
          <p:nvSpPr>
            <p:cNvPr id="12" name="TextBox 78">
              <a:extLst>
                <a:ext uri="{FF2B5EF4-FFF2-40B4-BE49-F238E27FC236}">
                  <a16:creationId xmlns:a16="http://schemas.microsoft.com/office/drawing/2014/main" id="{C34DB347-26E3-E7DE-92F9-32B9240E769D}"/>
                </a:ext>
              </a:extLst>
            </p:cNvPr>
            <p:cNvSpPr txBox="1"/>
            <p:nvPr/>
          </p:nvSpPr>
          <p:spPr>
            <a:xfrm>
              <a:off x="6960562" y="2286272"/>
              <a:ext cx="915995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11</a:t>
              </a:r>
              <a:r>
                <a:rPr lang="en-GB" sz="3413" dirty="0">
                  <a:solidFill>
                    <a:srgbClr val="FFFFFF"/>
                  </a:solidFill>
                  <a:latin typeface="Arial" charset="0"/>
                  <a:cs typeface="Arial" charset="0"/>
                  <a:sym typeface="Helvetica Light"/>
                </a:rPr>
                <a:t>8</a:t>
              </a:r>
              <a:endParaRPr kumimoji="0" lang="en-GB" sz="34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4" name="TextBox 78">
              <a:extLst>
                <a:ext uri="{FF2B5EF4-FFF2-40B4-BE49-F238E27FC236}">
                  <a16:creationId xmlns:a16="http://schemas.microsoft.com/office/drawing/2014/main" id="{84C764BA-A4C6-A33A-4E89-2F73664194A7}"/>
                </a:ext>
              </a:extLst>
            </p:cNvPr>
            <p:cNvSpPr txBox="1"/>
            <p:nvPr/>
          </p:nvSpPr>
          <p:spPr>
            <a:xfrm>
              <a:off x="6757539" y="2872886"/>
              <a:ext cx="1322041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members</a:t>
              </a:r>
            </a:p>
          </p:txBody>
        </p:sp>
        <p:sp>
          <p:nvSpPr>
            <p:cNvPr id="37" name="TextBox 20">
              <a:extLst>
                <a:ext uri="{FF2B5EF4-FFF2-40B4-BE49-F238E27FC236}">
                  <a16:creationId xmlns:a16="http://schemas.microsoft.com/office/drawing/2014/main" id="{639FB714-0D4C-6EA5-5502-3333EF3EC563}"/>
                </a:ext>
              </a:extLst>
            </p:cNvPr>
            <p:cNvSpPr txBox="1"/>
            <p:nvPr/>
          </p:nvSpPr>
          <p:spPr>
            <a:xfrm>
              <a:off x="420913" y="2410376"/>
              <a:ext cx="5346419" cy="369332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GB" sz="1800" b="1" noProof="1">
                  <a:solidFill>
                    <a:schemeClr val="tx1"/>
                  </a:solidFill>
                </a:rPr>
                <a:t>83% of the Spanish railway exports</a:t>
              </a:r>
            </a:p>
          </p:txBody>
        </p:sp>
        <p:sp>
          <p:nvSpPr>
            <p:cNvPr id="38" name="TextBox 20">
              <a:extLst>
                <a:ext uri="{FF2B5EF4-FFF2-40B4-BE49-F238E27FC236}">
                  <a16:creationId xmlns:a16="http://schemas.microsoft.com/office/drawing/2014/main" id="{850B071D-8A1F-774B-9327-FE37A77517D6}"/>
                </a:ext>
              </a:extLst>
            </p:cNvPr>
            <p:cNvSpPr txBox="1"/>
            <p:nvPr/>
          </p:nvSpPr>
          <p:spPr>
            <a:xfrm>
              <a:off x="-337550" y="4745967"/>
              <a:ext cx="4965511" cy="369332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0" marR="0" lvl="0" indent="0" algn="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1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Jobs in Spain</a:t>
              </a:r>
            </a:p>
          </p:txBody>
        </p:sp>
        <p:sp>
          <p:nvSpPr>
            <p:cNvPr id="39" name="TextBox 20">
              <a:extLst>
                <a:ext uri="{FF2B5EF4-FFF2-40B4-BE49-F238E27FC236}">
                  <a16:creationId xmlns:a16="http://schemas.microsoft.com/office/drawing/2014/main" id="{4FD604C4-1D27-2B7B-1DE3-0C3E94789F47}"/>
                </a:ext>
              </a:extLst>
            </p:cNvPr>
            <p:cNvSpPr txBox="1"/>
            <p:nvPr/>
          </p:nvSpPr>
          <p:spPr>
            <a:xfrm>
              <a:off x="801820" y="6923775"/>
              <a:ext cx="4965511" cy="369332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GB" sz="1800" b="1" noProof="1">
                  <a:solidFill>
                    <a:schemeClr val="tx1"/>
                  </a:solidFill>
                </a:rPr>
                <a:t>Countries in which are present</a:t>
              </a:r>
            </a:p>
          </p:txBody>
        </p:sp>
        <p:sp>
          <p:nvSpPr>
            <p:cNvPr id="40" name="TextBox 20">
              <a:extLst>
                <a:ext uri="{FF2B5EF4-FFF2-40B4-BE49-F238E27FC236}">
                  <a16:creationId xmlns:a16="http://schemas.microsoft.com/office/drawing/2014/main" id="{589A17E2-C577-A55A-D3C2-6DB405FB23CA}"/>
                </a:ext>
              </a:extLst>
            </p:cNvPr>
            <p:cNvSpPr txBox="1"/>
            <p:nvPr/>
          </p:nvSpPr>
          <p:spPr>
            <a:xfrm>
              <a:off x="11640260" y="2294263"/>
              <a:ext cx="4965511" cy="64633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0" marR="0" lvl="0" indent="0" algn="l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1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Turnover (2022)</a:t>
              </a:r>
            </a:p>
            <a:p>
              <a:pPr marL="0" marR="0" lvl="0" indent="0" algn="l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1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7.5% of industrial GDP in Spain </a:t>
              </a:r>
            </a:p>
          </p:txBody>
        </p:sp>
        <p:sp>
          <p:nvSpPr>
            <p:cNvPr id="41" name="TextBox 20">
              <a:extLst>
                <a:ext uri="{FF2B5EF4-FFF2-40B4-BE49-F238E27FC236}">
                  <a16:creationId xmlns:a16="http://schemas.microsoft.com/office/drawing/2014/main" id="{9456E4CD-B64F-6856-F9D7-DF32072317C3}"/>
                </a:ext>
              </a:extLst>
            </p:cNvPr>
            <p:cNvSpPr txBox="1"/>
            <p:nvPr/>
          </p:nvSpPr>
          <p:spPr>
            <a:xfrm>
              <a:off x="12421310" y="4745967"/>
              <a:ext cx="4965511" cy="369332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0" marR="0" lvl="0" indent="0" algn="l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1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Of railway turnover invested in R&amp;D</a:t>
              </a:r>
            </a:p>
          </p:txBody>
        </p:sp>
        <p:sp>
          <p:nvSpPr>
            <p:cNvPr id="42" name="TextBox 20">
              <a:extLst>
                <a:ext uri="{FF2B5EF4-FFF2-40B4-BE49-F238E27FC236}">
                  <a16:creationId xmlns:a16="http://schemas.microsoft.com/office/drawing/2014/main" id="{BADE513E-7363-18DB-DB80-BD6EA0F25FC5}"/>
                </a:ext>
              </a:extLst>
            </p:cNvPr>
            <p:cNvSpPr txBox="1"/>
            <p:nvPr/>
          </p:nvSpPr>
          <p:spPr>
            <a:xfrm>
              <a:off x="11640260" y="6923775"/>
              <a:ext cx="4965511" cy="369332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en-GB" sz="1800" b="1" noProof="1">
                  <a:solidFill>
                    <a:schemeClr val="tx1"/>
                  </a:solidFill>
                </a:rPr>
                <a:t>Delegations around the world</a:t>
              </a:r>
            </a:p>
          </p:txBody>
        </p:sp>
        <p:sp>
          <p:nvSpPr>
            <p:cNvPr id="43" name="TextBox 78">
              <a:extLst>
                <a:ext uri="{FF2B5EF4-FFF2-40B4-BE49-F238E27FC236}">
                  <a16:creationId xmlns:a16="http://schemas.microsoft.com/office/drawing/2014/main" id="{A17EEEF8-402F-A0EE-FCD0-9E4F60A30F58}"/>
                </a:ext>
              </a:extLst>
            </p:cNvPr>
            <p:cNvSpPr txBox="1"/>
            <p:nvPr/>
          </p:nvSpPr>
          <p:spPr>
            <a:xfrm>
              <a:off x="5379412" y="4570474"/>
              <a:ext cx="1887104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+30.000</a:t>
              </a:r>
            </a:p>
          </p:txBody>
        </p:sp>
        <p:sp>
          <p:nvSpPr>
            <p:cNvPr id="44" name="TextBox 78">
              <a:extLst>
                <a:ext uri="{FF2B5EF4-FFF2-40B4-BE49-F238E27FC236}">
                  <a16:creationId xmlns:a16="http://schemas.microsoft.com/office/drawing/2014/main" id="{D6F353CD-9B17-52A6-3750-89E77CCD4837}"/>
                </a:ext>
              </a:extLst>
            </p:cNvPr>
            <p:cNvSpPr txBox="1"/>
            <p:nvPr/>
          </p:nvSpPr>
          <p:spPr>
            <a:xfrm>
              <a:off x="10477941" y="4570474"/>
              <a:ext cx="1195218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4%</a:t>
              </a:r>
            </a:p>
          </p:txBody>
        </p:sp>
        <p:sp>
          <p:nvSpPr>
            <p:cNvPr id="45" name="TextBox 78">
              <a:extLst>
                <a:ext uri="{FF2B5EF4-FFF2-40B4-BE49-F238E27FC236}">
                  <a16:creationId xmlns:a16="http://schemas.microsoft.com/office/drawing/2014/main" id="{0A3E5652-A2A9-DB20-C4D1-7312438A8C2D}"/>
                </a:ext>
              </a:extLst>
            </p:cNvPr>
            <p:cNvSpPr txBox="1"/>
            <p:nvPr/>
          </p:nvSpPr>
          <p:spPr>
            <a:xfrm>
              <a:off x="6757539" y="6799671"/>
              <a:ext cx="1220529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+</a:t>
              </a:r>
              <a:r>
                <a:rPr lang="en-GB" sz="3413" dirty="0">
                  <a:solidFill>
                    <a:srgbClr val="FFFFFF"/>
                  </a:solidFill>
                  <a:latin typeface="Arial" charset="0"/>
                  <a:cs typeface="Arial" charset="0"/>
                  <a:sym typeface="Helvetica Light"/>
                </a:rPr>
                <a:t>100</a:t>
              </a:r>
              <a:endParaRPr kumimoji="0" lang="en-GB" sz="34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46" name="TextBox 78">
              <a:extLst>
                <a:ext uri="{FF2B5EF4-FFF2-40B4-BE49-F238E27FC236}">
                  <a16:creationId xmlns:a16="http://schemas.microsoft.com/office/drawing/2014/main" id="{27243A7B-6EFC-7E70-664F-A5B915EB94AA}"/>
                </a:ext>
              </a:extLst>
            </p:cNvPr>
            <p:cNvSpPr txBox="1"/>
            <p:nvPr/>
          </p:nvSpPr>
          <p:spPr>
            <a:xfrm>
              <a:off x="9291156" y="6799671"/>
              <a:ext cx="1243093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+300</a:t>
              </a:r>
            </a:p>
          </p:txBody>
        </p:sp>
        <p:sp>
          <p:nvSpPr>
            <p:cNvPr id="47" name="TextBox 78">
              <a:extLst>
                <a:ext uri="{FF2B5EF4-FFF2-40B4-BE49-F238E27FC236}">
                  <a16:creationId xmlns:a16="http://schemas.microsoft.com/office/drawing/2014/main" id="{192ED651-2FCC-D9F2-92F3-0468ACDB41FA}"/>
                </a:ext>
              </a:extLst>
            </p:cNvPr>
            <p:cNvSpPr txBox="1"/>
            <p:nvPr/>
          </p:nvSpPr>
          <p:spPr>
            <a:xfrm>
              <a:off x="9018171" y="2286272"/>
              <a:ext cx="1869584" cy="617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413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+20</a:t>
              </a:r>
            </a:p>
          </p:txBody>
        </p:sp>
        <p:sp>
          <p:nvSpPr>
            <p:cNvPr id="48" name="TextBox 78">
              <a:extLst>
                <a:ext uri="{FF2B5EF4-FFF2-40B4-BE49-F238E27FC236}">
                  <a16:creationId xmlns:a16="http://schemas.microsoft.com/office/drawing/2014/main" id="{85D1F0A1-2C31-7C6A-1101-360FD8E9C29A}"/>
                </a:ext>
              </a:extLst>
            </p:cNvPr>
            <p:cNvSpPr txBox="1"/>
            <p:nvPr/>
          </p:nvSpPr>
          <p:spPr>
            <a:xfrm>
              <a:off x="9291943" y="2872886"/>
              <a:ext cx="1322041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2400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marL="0" marR="0" lvl="0" indent="0" algn="ctr" defTabSz="584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  <a:sym typeface="Helvetica Light"/>
                </a:rPr>
                <a:t>billion €</a:t>
              </a:r>
            </a:p>
          </p:txBody>
        </p:sp>
      </p:grpSp>
      <p:pic>
        <p:nvPicPr>
          <p:cNvPr id="57" name="Imagen 56">
            <a:extLst>
              <a:ext uri="{FF2B5EF4-FFF2-40B4-BE49-F238E27FC236}">
                <a16:creationId xmlns:a16="http://schemas.microsoft.com/office/drawing/2014/main" id="{E6C0E4EA-8BFF-6C86-1915-E0616CF0FD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527" y="5339292"/>
            <a:ext cx="2070153" cy="507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8679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118 member companie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445BD80B-A650-D700-6EC3-1D98A30665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615" y="1817612"/>
            <a:ext cx="11891032" cy="5260388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62F92EF-0BC7-E8C2-01A3-A75A5106464B}"/>
              </a:ext>
            </a:extLst>
          </p:cNvPr>
          <p:cNvSpPr/>
          <p:nvPr/>
        </p:nvSpPr>
        <p:spPr>
          <a:xfrm>
            <a:off x="-162" y="7165597"/>
            <a:ext cx="17340424" cy="1956517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40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C44A3CB-18C8-C180-5717-A03DD0C5159F}"/>
              </a:ext>
            </a:extLst>
          </p:cNvPr>
          <p:cNvSpPr txBox="1"/>
          <p:nvPr/>
        </p:nvSpPr>
        <p:spPr>
          <a:xfrm>
            <a:off x="2783241" y="7293127"/>
            <a:ext cx="329669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"/>
            </a:defPPr>
            <a:lvl1pPr>
              <a:defRPr sz="1200" b="1">
                <a:latin typeface="+mj-lt"/>
              </a:defRPr>
            </a:lvl1pPr>
          </a:lstStyle>
          <a:p>
            <a:pPr algn="ctr"/>
            <a:r>
              <a:rPr lang="en-US" b="0"/>
              <a:t>Members of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5F546C9-2F87-08F0-4A6F-809545841640}"/>
              </a:ext>
            </a:extLst>
          </p:cNvPr>
          <p:cNvSpPr/>
          <p:nvPr/>
        </p:nvSpPr>
        <p:spPr>
          <a:xfrm>
            <a:off x="212552" y="8248193"/>
            <a:ext cx="221236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i="1" dirty="0">
                <a:latin typeface="+mj-lt"/>
              </a:rPr>
              <a:t>Spanish Confederation of Business Organizations</a:t>
            </a:r>
            <a:endParaRPr lang="es-ES" sz="1050" i="1" dirty="0">
              <a:latin typeface="+mj-lt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53A9F05-6CD3-C7CF-86A2-5E3B135C7C9F}"/>
              </a:ext>
            </a:extLst>
          </p:cNvPr>
          <p:cNvSpPr/>
          <p:nvPr/>
        </p:nvSpPr>
        <p:spPr>
          <a:xfrm>
            <a:off x="5370574" y="8644247"/>
            <a:ext cx="18500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i="1" dirty="0">
                <a:latin typeface="+mj-lt"/>
              </a:rPr>
              <a:t>European Rail Supply Industry Association</a:t>
            </a:r>
            <a:endParaRPr lang="es-ES" sz="1050" i="1" dirty="0">
              <a:latin typeface="+mj-lt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DF0E95F0-EE7A-E0D8-0C6C-5A1443519A93}"/>
              </a:ext>
            </a:extLst>
          </p:cNvPr>
          <p:cNvCxnSpPr/>
          <p:nvPr/>
        </p:nvCxnSpPr>
        <p:spPr>
          <a:xfrm>
            <a:off x="414535" y="7647772"/>
            <a:ext cx="803411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id="{08760891-32A2-72FF-8271-EF426CE26768}"/>
              </a:ext>
            </a:extLst>
          </p:cNvPr>
          <p:cNvSpPr/>
          <p:nvPr/>
        </p:nvSpPr>
        <p:spPr>
          <a:xfrm>
            <a:off x="6293367" y="8245495"/>
            <a:ext cx="253955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i="1" dirty="0">
                <a:latin typeface="+mj-lt"/>
              </a:rPr>
              <a:t>AGEX </a:t>
            </a:r>
            <a:r>
              <a:rPr lang="es-ES" sz="1050" i="1" dirty="0" err="1">
                <a:latin typeface="+mj-lt"/>
              </a:rPr>
              <a:t>Group</a:t>
            </a:r>
            <a:endParaRPr lang="es-ES" sz="1050" i="1" dirty="0">
              <a:latin typeface="+mj-lt"/>
            </a:endParaRPr>
          </a:p>
        </p:txBody>
      </p:sp>
      <p:pic>
        <p:nvPicPr>
          <p:cNvPr id="11" name="Picture 9" descr="Confederación Española de Organizaciones Empresariales | CEOE">
            <a:extLst>
              <a:ext uri="{FF2B5EF4-FFF2-40B4-BE49-F238E27FC236}">
                <a16:creationId xmlns:a16="http://schemas.microsoft.com/office/drawing/2014/main" id="{7693BE7E-F719-DCAB-3EB1-8D835921F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592" y="7907470"/>
            <a:ext cx="653799" cy="30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File:UNIFE.svg - Wikipedia">
            <a:extLst>
              <a:ext uri="{FF2B5EF4-FFF2-40B4-BE49-F238E27FC236}">
                <a16:creationId xmlns:a16="http://schemas.microsoft.com/office/drawing/2014/main" id="{953B4BA1-3F29-1348-79CC-DE1D339C9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434" y="8292404"/>
            <a:ext cx="685566" cy="258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 descr="PTFE - Plataforma Tecnológica Ferroviaria Española">
            <a:extLst>
              <a:ext uri="{FF2B5EF4-FFF2-40B4-BE49-F238E27FC236}">
                <a16:creationId xmlns:a16="http://schemas.microsoft.com/office/drawing/2014/main" id="{7022F3A7-0D13-DC84-73DC-D7AE3C62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7992" y="7903394"/>
            <a:ext cx="646753" cy="316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" descr="Home - Grupo AGEX">
            <a:extLst>
              <a:ext uri="{FF2B5EF4-FFF2-40B4-BE49-F238E27FC236}">
                <a16:creationId xmlns:a16="http://schemas.microsoft.com/office/drawing/2014/main" id="{7BBDE168-EC58-B40E-B694-DDEDDEDCE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89" y="7929791"/>
            <a:ext cx="643937" cy="26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1" descr="ERCI – European Railway Clusters Initiative">
            <a:extLst>
              <a:ext uri="{FF2B5EF4-FFF2-40B4-BE49-F238E27FC236}">
                <a16:creationId xmlns:a16="http://schemas.microsoft.com/office/drawing/2014/main" id="{E507245E-46F2-3024-D8F1-36F713C9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8570" y="8227171"/>
            <a:ext cx="576061" cy="36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6E9362BE-85A1-B1DC-594D-066B2ACA3B68}"/>
              </a:ext>
            </a:extLst>
          </p:cNvPr>
          <p:cNvSpPr txBox="1"/>
          <p:nvPr/>
        </p:nvSpPr>
        <p:spPr>
          <a:xfrm>
            <a:off x="11298653" y="7307898"/>
            <a:ext cx="329669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"/>
            </a:defPPr>
            <a:lvl1pPr>
              <a:defRPr sz="1200" b="1">
                <a:latin typeface="+mj-lt"/>
              </a:defRPr>
            </a:lvl1pPr>
          </a:lstStyle>
          <a:p>
            <a:pPr algn="ctr"/>
            <a:r>
              <a:rPr lang="en-US" b="0" dirty="0"/>
              <a:t>Collaboration Entitie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87C77C1-047B-B9AF-51FD-E1D008CE7272}"/>
              </a:ext>
            </a:extLst>
          </p:cNvPr>
          <p:cNvSpPr/>
          <p:nvPr/>
        </p:nvSpPr>
        <p:spPr>
          <a:xfrm>
            <a:off x="2035571" y="8644247"/>
            <a:ext cx="165251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i="1" dirty="0">
                <a:latin typeface="+mj-lt"/>
              </a:rPr>
              <a:t>European Rail </a:t>
            </a:r>
            <a:r>
              <a:rPr lang="es-ES" sz="1050" i="1" dirty="0" err="1">
                <a:latin typeface="+mj-lt"/>
              </a:rPr>
              <a:t>Cluster</a:t>
            </a:r>
            <a:r>
              <a:rPr lang="es-ES" sz="1050" i="1" dirty="0">
                <a:latin typeface="+mj-lt"/>
              </a:rPr>
              <a:t> </a:t>
            </a:r>
            <a:r>
              <a:rPr lang="es-ES" sz="1050" i="1" dirty="0" err="1">
                <a:latin typeface="+mj-lt"/>
              </a:rPr>
              <a:t>Initiative</a:t>
            </a:r>
            <a:endParaRPr lang="es-ES" sz="1050" i="1" dirty="0">
              <a:latin typeface="+mj-lt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486BDAC-8B3A-A78A-F4D5-0F0970744F78}"/>
              </a:ext>
            </a:extLst>
          </p:cNvPr>
          <p:cNvSpPr/>
          <p:nvPr/>
        </p:nvSpPr>
        <p:spPr>
          <a:xfrm>
            <a:off x="3556186" y="8207992"/>
            <a:ext cx="200472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i="1" dirty="0" err="1">
                <a:latin typeface="+mj-lt"/>
              </a:rPr>
              <a:t>Spanish</a:t>
            </a:r>
            <a:r>
              <a:rPr lang="es-ES" sz="1050" i="1" dirty="0">
                <a:latin typeface="+mj-lt"/>
              </a:rPr>
              <a:t> </a:t>
            </a:r>
            <a:r>
              <a:rPr lang="es-ES" sz="1050" i="1" dirty="0" err="1">
                <a:latin typeface="+mj-lt"/>
              </a:rPr>
              <a:t>Railways</a:t>
            </a:r>
            <a:r>
              <a:rPr lang="es-ES" sz="1050" i="1" dirty="0">
                <a:latin typeface="+mj-lt"/>
              </a:rPr>
              <a:t> </a:t>
            </a:r>
            <a:r>
              <a:rPr lang="es-ES" sz="1050" i="1" dirty="0" err="1">
                <a:latin typeface="+mj-lt"/>
              </a:rPr>
              <a:t>Technological</a:t>
            </a:r>
            <a:r>
              <a:rPr lang="es-ES" sz="1050" i="1" dirty="0">
                <a:latin typeface="+mj-lt"/>
              </a:rPr>
              <a:t> </a:t>
            </a:r>
            <a:r>
              <a:rPr lang="es-ES" sz="1050" i="1" dirty="0" err="1">
                <a:latin typeface="+mj-lt"/>
              </a:rPr>
              <a:t>Platform</a:t>
            </a:r>
            <a:endParaRPr lang="es-ES" sz="1050" i="1" dirty="0">
              <a:latin typeface="+mj-lt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6F9DA96E-A9A5-34AC-CF96-DEE3DDCC78E1}"/>
              </a:ext>
            </a:extLst>
          </p:cNvPr>
          <p:cNvCxnSpPr/>
          <p:nvPr/>
        </p:nvCxnSpPr>
        <p:spPr>
          <a:xfrm>
            <a:off x="8929946" y="7647772"/>
            <a:ext cx="803411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16" descr="ICEX (@ICEX_) | Twitter">
            <a:extLst>
              <a:ext uri="{FF2B5EF4-FFF2-40B4-BE49-F238E27FC236}">
                <a16:creationId xmlns:a16="http://schemas.microsoft.com/office/drawing/2014/main" id="{5F104732-33D0-441F-6302-F2E307ECB7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29" t="36338" r="10338" b="35951"/>
          <a:stretch/>
        </p:blipFill>
        <p:spPr bwMode="auto">
          <a:xfrm>
            <a:off x="10430608" y="7906810"/>
            <a:ext cx="753378" cy="266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5" descr="Adif - Noticias, reportajes, vídeos y fotografías - Libertad Digital">
            <a:extLst>
              <a:ext uri="{FF2B5EF4-FFF2-40B4-BE49-F238E27FC236}">
                <a16:creationId xmlns:a16="http://schemas.microsoft.com/office/drawing/2014/main" id="{173F9E27-102C-B9E2-D3D7-70B01BD16E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8" t="26224" r="18671" b="27669"/>
          <a:stretch/>
        </p:blipFill>
        <p:spPr bwMode="auto">
          <a:xfrm>
            <a:off x="12929559" y="7886580"/>
            <a:ext cx="754697" cy="306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8" descr="Viaja a Metrópoli en tren: 35% de descuento con RENFE | Turismo, Metrópoli,  Alquiler de coches">
            <a:extLst>
              <a:ext uri="{FF2B5EF4-FFF2-40B4-BE49-F238E27FC236}">
                <a16:creationId xmlns:a16="http://schemas.microsoft.com/office/drawing/2014/main" id="{DBC2F89D-5CEE-50DD-BF4F-27906E145A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1" t="28013" r="11476" b="26760"/>
          <a:stretch/>
        </p:blipFill>
        <p:spPr bwMode="auto">
          <a:xfrm>
            <a:off x="13955224" y="7909421"/>
            <a:ext cx="807833" cy="260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Presentación de Ayudas y Servicios 2019 del Gobierno Vasco y el Grupo SPRI  para las empresas | Derten">
            <a:extLst>
              <a:ext uri="{FF2B5EF4-FFF2-40B4-BE49-F238E27FC236}">
                <a16:creationId xmlns:a16="http://schemas.microsoft.com/office/drawing/2014/main" id="{F7909BF3-AB25-58A0-841C-6AF64BC9E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0002" y="7888727"/>
            <a:ext cx="1182758" cy="30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4" descr="cdti-logo - IiSGM">
            <a:extLst>
              <a:ext uri="{FF2B5EF4-FFF2-40B4-BE49-F238E27FC236}">
                <a16:creationId xmlns:a16="http://schemas.microsoft.com/office/drawing/2014/main" id="{F1171B3F-8944-DF44-9368-6AEDCD440C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" t="3033" r="1855" b="5188"/>
          <a:stretch/>
        </p:blipFill>
        <p:spPr bwMode="auto">
          <a:xfrm>
            <a:off x="10829105" y="8591509"/>
            <a:ext cx="880683" cy="257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6" descr="Inicio MetroTenerife">
            <a:extLst>
              <a:ext uri="{FF2B5EF4-FFF2-40B4-BE49-F238E27FC236}">
                <a16:creationId xmlns:a16="http://schemas.microsoft.com/office/drawing/2014/main" id="{B9294797-CA7E-66A4-0C1B-00E72A6C9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9413" y="7879628"/>
            <a:ext cx="425545" cy="320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0" descr="Alamys">
            <a:extLst>
              <a:ext uri="{FF2B5EF4-FFF2-40B4-BE49-F238E27FC236}">
                <a16:creationId xmlns:a16="http://schemas.microsoft.com/office/drawing/2014/main" id="{8D72F8A4-71CB-0461-C7BD-B68C6A921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4F4F4"/>
              </a:clrFrom>
              <a:clrTo>
                <a:srgbClr val="F4F4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72927" y="8533180"/>
            <a:ext cx="712792" cy="37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AA569ADE-2364-1462-CD9B-4A6E3D86F24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316644" y="7947800"/>
            <a:ext cx="766255" cy="184196"/>
          </a:xfrm>
          <a:prstGeom prst="rect">
            <a:avLst/>
          </a:prstGeom>
        </p:spPr>
      </p:pic>
      <p:pic>
        <p:nvPicPr>
          <p:cNvPr id="32" name="Picture 154" descr="Visita estratégica del BCIE a España y Europa: impulso a la colaboración  para promover proyectos de impacto regional - SALT">
            <a:extLst>
              <a:ext uri="{FF2B5EF4-FFF2-40B4-BE49-F238E27FC236}">
                <a16:creationId xmlns:a16="http://schemas.microsoft.com/office/drawing/2014/main" id="{F772FE25-B17F-4F93-2144-DE66AA72F1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1608" y="8531524"/>
            <a:ext cx="629213" cy="37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56" descr="Archivo:Logo-TMB.svg - Wikipedia, la enciclopedia libre">
            <a:extLst>
              <a:ext uri="{FF2B5EF4-FFF2-40B4-BE49-F238E27FC236}">
                <a16:creationId xmlns:a16="http://schemas.microsoft.com/office/drawing/2014/main" id="{F7EC2D87-40AA-8741-3B8B-69F38EB95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8162" y="7861500"/>
            <a:ext cx="769562" cy="356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59" descr="VDB (German Railway Industry Association) | Railway-News">
            <a:extLst>
              <a:ext uri="{FF2B5EF4-FFF2-40B4-BE49-F238E27FC236}">
                <a16:creationId xmlns:a16="http://schemas.microsoft.com/office/drawing/2014/main" id="{539667A3-9B56-88D8-D6E6-5D2ED7C133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44" b="37334"/>
          <a:stretch/>
        </p:blipFill>
        <p:spPr bwMode="auto">
          <a:xfrm>
            <a:off x="15103958" y="8594288"/>
            <a:ext cx="138715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28E943FC-6516-0EAF-2CB4-1173EC2F3C28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44667" y="8633836"/>
            <a:ext cx="821299" cy="172905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FB699383-08C6-62BF-1864-4E1E08632773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148858" y="8607263"/>
            <a:ext cx="599611" cy="226051"/>
          </a:xfrm>
          <a:prstGeom prst="rect">
            <a:avLst/>
          </a:prstGeom>
        </p:spPr>
      </p:pic>
      <p:sp>
        <p:nvSpPr>
          <p:cNvPr id="38" name="Freeform 30">
            <a:extLst>
              <a:ext uri="{FF2B5EF4-FFF2-40B4-BE49-F238E27FC236}">
                <a16:creationId xmlns:a16="http://schemas.microsoft.com/office/drawing/2014/main" id="{F0F7F188-8D8C-2732-3959-997F464AF3E8}"/>
              </a:ext>
            </a:extLst>
          </p:cNvPr>
          <p:cNvSpPr>
            <a:spLocks/>
          </p:cNvSpPr>
          <p:nvPr/>
        </p:nvSpPr>
        <p:spPr bwMode="auto">
          <a:xfrm rot="10800000">
            <a:off x="14880584" y="8444085"/>
            <a:ext cx="1850042" cy="59025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3D3935"/>
              </a:solidFill>
              <a:effectLst/>
              <a:uLnTx/>
              <a:uFillTx/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542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n 31">
            <a:extLst>
              <a:ext uri="{FF2B5EF4-FFF2-40B4-BE49-F238E27FC236}">
                <a16:creationId xmlns:a16="http://schemas.microsoft.com/office/drawing/2014/main" id="{B3F30FF9-FEF7-EF71-CF7F-F6BF38685E7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0" b="9025"/>
          <a:stretch/>
        </p:blipFill>
        <p:spPr>
          <a:xfrm>
            <a:off x="-1" y="2218690"/>
            <a:ext cx="17364579" cy="6898685"/>
          </a:xfrm>
          <a:prstGeom prst="rect">
            <a:avLst/>
          </a:prstGeom>
        </p:spPr>
      </p:pic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GB" dirty="0">
                <a:latin typeface="Arial"/>
                <a:cs typeface="Arial"/>
              </a:rPr>
              <a:t>A unique sectorial value chain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62E95FF1-5CA0-F053-2939-DA5DF271536F}"/>
              </a:ext>
            </a:extLst>
          </p:cNvPr>
          <p:cNvGrpSpPr/>
          <p:nvPr/>
        </p:nvGrpSpPr>
        <p:grpSpPr>
          <a:xfrm>
            <a:off x="1536473" y="6500178"/>
            <a:ext cx="3284887" cy="1476000"/>
            <a:chOff x="1816095" y="5458288"/>
            <a:chExt cx="4151095" cy="1815881"/>
          </a:xfrm>
          <a:solidFill>
            <a:srgbClr val="881019"/>
          </a:solidFill>
        </p:grpSpPr>
        <p:sp>
          <p:nvSpPr>
            <p:cNvPr id="6" name="Rectángulo: esquinas redondeadas 5">
              <a:extLst>
                <a:ext uri="{FF2B5EF4-FFF2-40B4-BE49-F238E27FC236}">
                  <a16:creationId xmlns:a16="http://schemas.microsoft.com/office/drawing/2014/main" id="{CE22B593-C519-A3D9-7992-4D824CA1505B}"/>
                </a:ext>
              </a:extLst>
            </p:cNvPr>
            <p:cNvSpPr/>
            <p:nvPr/>
          </p:nvSpPr>
          <p:spPr>
            <a:xfrm>
              <a:off x="1816095" y="5458288"/>
              <a:ext cx="4151095" cy="1815881"/>
            </a:xfrm>
            <a:prstGeom prst="roundRect">
              <a:avLst/>
            </a:prstGeom>
            <a:solidFill>
              <a:srgbClr val="FF00F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275BA0A7-177D-78DB-F49D-DDCCB7A287CF}"/>
                </a:ext>
              </a:extLst>
            </p:cNvPr>
            <p:cNvSpPr txBox="1"/>
            <p:nvPr/>
          </p:nvSpPr>
          <p:spPr>
            <a:xfrm>
              <a:off x="1974845" y="5794867"/>
              <a:ext cx="3833590" cy="114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>
              <a:defPPr>
                <a:defRPr lang="es-ES"/>
              </a:defPPr>
              <a:lvl1pPr marL="0" marR="0" indent="0" algn="ctr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Helvetica Light"/>
                </a:rPr>
                <a:t>ENGINEERING, CONSULTANCY &amp; CERTIFICATION</a:t>
              </a:r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5F15011D-C162-B8AA-DB2F-6B4F09B7F725}"/>
              </a:ext>
            </a:extLst>
          </p:cNvPr>
          <p:cNvGrpSpPr/>
          <p:nvPr/>
        </p:nvGrpSpPr>
        <p:grpSpPr>
          <a:xfrm>
            <a:off x="6392976" y="6500178"/>
            <a:ext cx="3284887" cy="1476000"/>
            <a:chOff x="6767289" y="5610691"/>
            <a:chExt cx="4151095" cy="1815882"/>
          </a:xfrm>
          <a:solidFill>
            <a:srgbClr val="DD9E87"/>
          </a:solidFill>
        </p:grpSpPr>
        <p:sp>
          <p:nvSpPr>
            <p:cNvPr id="9" name="Rectángulo: esquinas redondeadas 8">
              <a:extLst>
                <a:ext uri="{FF2B5EF4-FFF2-40B4-BE49-F238E27FC236}">
                  <a16:creationId xmlns:a16="http://schemas.microsoft.com/office/drawing/2014/main" id="{597EC98B-1B72-0CD0-8508-E39C76DE747A}"/>
                </a:ext>
              </a:extLst>
            </p:cNvPr>
            <p:cNvSpPr/>
            <p:nvPr/>
          </p:nvSpPr>
          <p:spPr>
            <a:xfrm>
              <a:off x="6767289" y="5610691"/>
              <a:ext cx="4151095" cy="1815882"/>
            </a:xfrm>
            <a:prstGeom prst="roundRect">
              <a:avLst/>
            </a:prstGeom>
            <a:solidFill>
              <a:srgbClr val="6947F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C56874FE-AAA0-C7D6-61D4-61B6C08664C3}"/>
                </a:ext>
              </a:extLst>
            </p:cNvPr>
            <p:cNvSpPr txBox="1"/>
            <p:nvPr/>
          </p:nvSpPr>
          <p:spPr>
            <a:xfrm>
              <a:off x="6767289" y="6327817"/>
              <a:ext cx="4151095" cy="46700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ROLLING STOCK</a:t>
              </a: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2D8A8A16-5F60-A9D7-D10C-4DFECF681791}"/>
              </a:ext>
            </a:extLst>
          </p:cNvPr>
          <p:cNvGrpSpPr/>
          <p:nvPr/>
        </p:nvGrpSpPr>
        <p:grpSpPr>
          <a:xfrm>
            <a:off x="7628605" y="3214933"/>
            <a:ext cx="3921136" cy="1476000"/>
            <a:chOff x="6465211" y="2522326"/>
            <a:chExt cx="4151095" cy="1815881"/>
          </a:xfrm>
        </p:grpSpPr>
        <p:sp>
          <p:nvSpPr>
            <p:cNvPr id="12" name="Rectángulo: esquinas redondeadas 11">
              <a:extLst>
                <a:ext uri="{FF2B5EF4-FFF2-40B4-BE49-F238E27FC236}">
                  <a16:creationId xmlns:a16="http://schemas.microsoft.com/office/drawing/2014/main" id="{17020C10-5417-9336-1B12-1E122719642E}"/>
                </a:ext>
              </a:extLst>
            </p:cNvPr>
            <p:cNvSpPr/>
            <p:nvPr/>
          </p:nvSpPr>
          <p:spPr>
            <a:xfrm>
              <a:off x="6465211" y="2522326"/>
              <a:ext cx="4151095" cy="1815881"/>
            </a:xfrm>
            <a:prstGeom prst="roundRect">
              <a:avLst/>
            </a:prstGeom>
            <a:solidFill>
              <a:srgbClr val="C3B5F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DFA194E2-D219-EEE2-FF54-29EB54BBE28D}"/>
                </a:ext>
              </a:extLst>
            </p:cNvPr>
            <p:cNvSpPr txBox="1"/>
            <p:nvPr/>
          </p:nvSpPr>
          <p:spPr>
            <a:xfrm>
              <a:off x="6596185" y="2685590"/>
              <a:ext cx="3889148" cy="14893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TRAFFIC AND SIGNALLING CONTROL SYSTEMS, COMMUNICATION, PASSENGER INFORMATION AND TICKETING</a:t>
              </a:r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4050470E-AE86-35D1-364F-FF1CE5FF777B}"/>
              </a:ext>
            </a:extLst>
          </p:cNvPr>
          <p:cNvGrpSpPr/>
          <p:nvPr/>
        </p:nvGrpSpPr>
        <p:grpSpPr>
          <a:xfrm>
            <a:off x="11418475" y="6500178"/>
            <a:ext cx="3284887" cy="1476000"/>
            <a:chOff x="12444139" y="5608639"/>
            <a:chExt cx="4151095" cy="1815881"/>
          </a:xfrm>
          <a:solidFill>
            <a:schemeClr val="accent2"/>
          </a:solidFill>
        </p:grpSpPr>
        <p:sp>
          <p:nvSpPr>
            <p:cNvPr id="15" name="Rectángulo: esquinas redondeadas 14">
              <a:extLst>
                <a:ext uri="{FF2B5EF4-FFF2-40B4-BE49-F238E27FC236}">
                  <a16:creationId xmlns:a16="http://schemas.microsoft.com/office/drawing/2014/main" id="{72906086-AD4B-1224-3A75-BC897ED359F1}"/>
                </a:ext>
              </a:extLst>
            </p:cNvPr>
            <p:cNvSpPr/>
            <p:nvPr/>
          </p:nvSpPr>
          <p:spPr>
            <a:xfrm>
              <a:off x="12444139" y="5608639"/>
              <a:ext cx="4151095" cy="1815881"/>
            </a:xfrm>
            <a:prstGeom prst="roundRect">
              <a:avLst/>
            </a:prstGeom>
            <a:solidFill>
              <a:srgbClr val="607E8D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1A807E97-9337-6B52-73C0-2B6A0036C043}"/>
                </a:ext>
              </a:extLst>
            </p:cNvPr>
            <p:cNvSpPr txBox="1"/>
            <p:nvPr/>
          </p:nvSpPr>
          <p:spPr>
            <a:xfrm>
              <a:off x="12577470" y="5943897"/>
              <a:ext cx="3884433" cy="114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VEHICLE SYSTEMS, EQUIPMENT AND COMPONENTS</a:t>
              </a: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C572618B-3B19-057B-E6FA-ED0865E49270}"/>
              </a:ext>
            </a:extLst>
          </p:cNvPr>
          <p:cNvGrpSpPr/>
          <p:nvPr/>
        </p:nvGrpSpPr>
        <p:grpSpPr>
          <a:xfrm>
            <a:off x="13322649" y="3251799"/>
            <a:ext cx="3284886" cy="1476000"/>
            <a:chOff x="11968844" y="2479432"/>
            <a:chExt cx="4151095" cy="1815881"/>
          </a:xfrm>
          <a:solidFill>
            <a:schemeClr val="accent3"/>
          </a:solidFill>
        </p:grpSpPr>
        <p:sp>
          <p:nvSpPr>
            <p:cNvPr id="18" name="Rectángulo: esquinas redondeadas 17">
              <a:extLst>
                <a:ext uri="{FF2B5EF4-FFF2-40B4-BE49-F238E27FC236}">
                  <a16:creationId xmlns:a16="http://schemas.microsoft.com/office/drawing/2014/main" id="{C4F44957-D55D-E1C3-6C1F-CEF64FDFCFB9}"/>
                </a:ext>
              </a:extLst>
            </p:cNvPr>
            <p:cNvSpPr/>
            <p:nvPr/>
          </p:nvSpPr>
          <p:spPr>
            <a:xfrm>
              <a:off x="11968844" y="2479432"/>
              <a:ext cx="4151095" cy="1815881"/>
            </a:xfrm>
            <a:prstGeom prst="roundRect">
              <a:avLst/>
            </a:prstGeom>
            <a:solidFill>
              <a:srgbClr val="D1DBD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5060948D-2C90-BA64-23AA-3E02C0BE7EE0}"/>
                </a:ext>
              </a:extLst>
            </p:cNvPr>
            <p:cNvSpPr txBox="1"/>
            <p:nvPr/>
          </p:nvSpPr>
          <p:spPr>
            <a:xfrm>
              <a:off x="12132600" y="2819448"/>
              <a:ext cx="3823582" cy="114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  <a:sym typeface="Helvetica Light"/>
                </a:rPr>
                <a:t>MAINTENANCE: EQUIPMENT, SERVICES AND RENOVATIONS</a:t>
              </a: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8F45383F-3BE4-7CF3-4C8E-C6351C2DA779}"/>
              </a:ext>
            </a:extLst>
          </p:cNvPr>
          <p:cNvGrpSpPr/>
          <p:nvPr/>
        </p:nvGrpSpPr>
        <p:grpSpPr>
          <a:xfrm>
            <a:off x="2529450" y="3214932"/>
            <a:ext cx="3284887" cy="1476000"/>
            <a:chOff x="586009" y="2522327"/>
            <a:chExt cx="4151096" cy="1815881"/>
          </a:xfrm>
          <a:solidFill>
            <a:srgbClr val="B51621"/>
          </a:solidFill>
        </p:grpSpPr>
        <p:sp>
          <p:nvSpPr>
            <p:cNvPr id="21" name="Rectángulo: esquinas redondeadas 20">
              <a:extLst>
                <a:ext uri="{FF2B5EF4-FFF2-40B4-BE49-F238E27FC236}">
                  <a16:creationId xmlns:a16="http://schemas.microsoft.com/office/drawing/2014/main" id="{29A13E6B-79E9-DE36-B635-E5C081230B7D}"/>
                </a:ext>
              </a:extLst>
            </p:cNvPr>
            <p:cNvSpPr/>
            <p:nvPr/>
          </p:nvSpPr>
          <p:spPr>
            <a:xfrm>
              <a:off x="586009" y="2522327"/>
              <a:ext cx="4151095" cy="1815881"/>
            </a:xfrm>
            <a:prstGeom prst="roundRect">
              <a:avLst/>
            </a:prstGeom>
            <a:solidFill>
              <a:srgbClr val="FF99F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lvl="0" indent="0" algn="ctr" defTabSz="584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  <a:sym typeface="Helvetica Light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C68E8EB2-8563-D4EB-362C-70501689EC49}"/>
                </a:ext>
              </a:extLst>
            </p:cNvPr>
            <p:cNvSpPr txBox="1"/>
            <p:nvPr/>
          </p:nvSpPr>
          <p:spPr>
            <a:xfrm>
              <a:off x="586009" y="3059663"/>
              <a:ext cx="4151096" cy="8077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1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INFRASTRUCTURE/</a:t>
              </a:r>
            </a:p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8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SUPERSTRUCTURE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pic>
        <p:nvPicPr>
          <p:cNvPr id="23" name="Imagen 22">
            <a:extLst>
              <a:ext uri="{FF2B5EF4-FFF2-40B4-BE49-F238E27FC236}">
                <a16:creationId xmlns:a16="http://schemas.microsoft.com/office/drawing/2014/main" id="{DCB8C601-553B-1A3D-60CB-149C1AB7F1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</a:blip>
          <a:srcRect r="10611"/>
          <a:stretch/>
        </p:blipFill>
        <p:spPr>
          <a:xfrm>
            <a:off x="2371369" y="5069161"/>
            <a:ext cx="12817832" cy="1066940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19A1779-E7B6-50F6-ACB8-7281915E4AA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</a:blip>
          <a:srcRect r="10611"/>
          <a:stretch/>
        </p:blipFill>
        <p:spPr>
          <a:xfrm>
            <a:off x="2371369" y="5183461"/>
            <a:ext cx="12817832" cy="1066940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94EA579F-6D1A-70C8-70DC-E6375258245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043"/>
          <a:stretch/>
        </p:blipFill>
        <p:spPr>
          <a:xfrm rot="19206431">
            <a:off x="2333686" y="5328099"/>
            <a:ext cx="688749" cy="523154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C28E0EBC-D5AF-7900-B8F6-86C9345251F4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824117" y="2703395"/>
            <a:ext cx="281947" cy="318266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533309C0-DF09-EF08-CF1E-FBEB5BEA855D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90362" y="8262779"/>
            <a:ext cx="439364" cy="475297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C1F1C44E-79BE-8EFF-53CF-FAE2DF28C63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837470" y="8274255"/>
            <a:ext cx="395897" cy="434816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E5A14E71-10AE-1C70-A9FC-B4E214ABF302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17198" y="2642473"/>
            <a:ext cx="260665" cy="40659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085EBBC1-AA31-195B-2A80-5D07125F4C64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84290" y="8274255"/>
            <a:ext cx="383642" cy="361203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EFDC4A27-4135-E85D-C5DE-10A5CB2966B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529" y="2697847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2543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dirty="0">
                <a:latin typeface="Arial"/>
                <a:cs typeface="Arial"/>
              </a:rPr>
              <a:t>The strength of a pioneering industry</a:t>
            </a:r>
          </a:p>
        </p:txBody>
      </p:sp>
      <p:sp>
        <p:nvSpPr>
          <p:cNvPr id="2" name="Shape">
            <a:extLst>
              <a:ext uri="{FF2B5EF4-FFF2-40B4-BE49-F238E27FC236}">
                <a16:creationId xmlns:a16="http://schemas.microsoft.com/office/drawing/2014/main" id="{7FFF7B94-5F6D-B274-0065-2FBDA8B7A171}"/>
              </a:ext>
            </a:extLst>
          </p:cNvPr>
          <p:cNvSpPr/>
          <p:nvPr/>
        </p:nvSpPr>
        <p:spPr>
          <a:xfrm>
            <a:off x="1519565" y="3211994"/>
            <a:ext cx="2977219" cy="5242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5389"/>
                </a:moveTo>
                <a:cubicBezTo>
                  <a:pt x="21600" y="2407"/>
                  <a:pt x="16775" y="0"/>
                  <a:pt x="10800" y="0"/>
                </a:cubicBezTo>
                <a:cubicBezTo>
                  <a:pt x="4825" y="0"/>
                  <a:pt x="0" y="2407"/>
                  <a:pt x="0" y="5389"/>
                </a:cubicBezTo>
                <a:lnTo>
                  <a:pt x="0" y="16211"/>
                </a:lnTo>
                <a:cubicBezTo>
                  <a:pt x="0" y="19193"/>
                  <a:pt x="4825" y="21600"/>
                  <a:pt x="10800" y="21600"/>
                </a:cubicBezTo>
                <a:cubicBezTo>
                  <a:pt x="16775" y="21600"/>
                  <a:pt x="21600" y="19193"/>
                  <a:pt x="21600" y="16211"/>
                </a:cubicBezTo>
                <a:lnTo>
                  <a:pt x="21600" y="5389"/>
                </a:lnTo>
                <a:close/>
              </a:path>
            </a:pathLst>
          </a:custGeom>
          <a:solidFill>
            <a:srgbClr val="FF99FF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93A590F6-6A98-357A-5179-6138AB497A96}"/>
              </a:ext>
            </a:extLst>
          </p:cNvPr>
          <p:cNvSpPr/>
          <p:nvPr/>
        </p:nvSpPr>
        <p:spPr>
          <a:xfrm>
            <a:off x="1861212" y="2967960"/>
            <a:ext cx="2293925" cy="27880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26" y="0"/>
                  <a:pt x="0" y="3970"/>
                  <a:pt x="0" y="8886"/>
                </a:cubicBezTo>
                <a:lnTo>
                  <a:pt x="0" y="12714"/>
                </a:lnTo>
                <a:cubicBezTo>
                  <a:pt x="0" y="17630"/>
                  <a:pt x="4826" y="21600"/>
                  <a:pt x="10800" y="21600"/>
                </a:cubicBezTo>
                <a:cubicBezTo>
                  <a:pt x="16774" y="21600"/>
                  <a:pt x="21600" y="17630"/>
                  <a:pt x="21600" y="12714"/>
                </a:cubicBezTo>
                <a:lnTo>
                  <a:pt x="21600" y="8886"/>
                </a:lnTo>
                <a:cubicBezTo>
                  <a:pt x="21600" y="3970"/>
                  <a:pt x="16774" y="0"/>
                  <a:pt x="10800" y="0"/>
                </a:cubicBezTo>
                <a:close/>
              </a:path>
            </a:pathLst>
          </a:custGeom>
          <a:solidFill>
            <a:srgbClr val="FF00FF"/>
          </a:solidFill>
          <a:ln w="12700">
            <a:solidFill>
              <a:srgbClr val="FF00FF"/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6" name="Circle">
            <a:extLst>
              <a:ext uri="{FF2B5EF4-FFF2-40B4-BE49-F238E27FC236}">
                <a16:creationId xmlns:a16="http://schemas.microsoft.com/office/drawing/2014/main" id="{1B4FEFAE-3C22-B06E-847F-038A592E2799}"/>
              </a:ext>
            </a:extLst>
          </p:cNvPr>
          <p:cNvSpPr/>
          <p:nvPr/>
        </p:nvSpPr>
        <p:spPr>
          <a:xfrm>
            <a:off x="1861214" y="2967959"/>
            <a:ext cx="2293919" cy="229391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FF00FF"/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7" name="TextBox 51">
            <a:extLst>
              <a:ext uri="{FF2B5EF4-FFF2-40B4-BE49-F238E27FC236}">
                <a16:creationId xmlns:a16="http://schemas.microsoft.com/office/drawing/2014/main" id="{5C6DEC81-32A8-BE3A-E56E-D7108951EAC5}"/>
              </a:ext>
            </a:extLst>
          </p:cNvPr>
          <p:cNvSpPr txBox="1"/>
          <p:nvPr/>
        </p:nvSpPr>
        <p:spPr>
          <a:xfrm>
            <a:off x="1875580" y="2186118"/>
            <a:ext cx="2293919" cy="48628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60" b="1" i="0" u="none" strike="noStrike" kern="1200" cap="none" spc="0" normalizeH="0" baseline="0" noProof="1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High-speed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0B19DAAC-C2B6-0F12-6D5F-B26437842244}"/>
              </a:ext>
            </a:extLst>
          </p:cNvPr>
          <p:cNvSpPr txBox="1"/>
          <p:nvPr/>
        </p:nvSpPr>
        <p:spPr>
          <a:xfrm>
            <a:off x="1767527" y="6135829"/>
            <a:ext cx="2474542" cy="149322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70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76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Second largest high-speed network in the world - 4.000 km</a:t>
            </a: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AC06AB25-8E2A-0758-7766-04D6D3FC9005}"/>
              </a:ext>
            </a:extLst>
          </p:cNvPr>
          <p:cNvSpPr/>
          <p:nvPr/>
        </p:nvSpPr>
        <p:spPr>
          <a:xfrm>
            <a:off x="5243405" y="3211994"/>
            <a:ext cx="2977219" cy="5242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5389"/>
                </a:moveTo>
                <a:cubicBezTo>
                  <a:pt x="21600" y="2407"/>
                  <a:pt x="16775" y="0"/>
                  <a:pt x="10800" y="0"/>
                </a:cubicBezTo>
                <a:cubicBezTo>
                  <a:pt x="4825" y="0"/>
                  <a:pt x="0" y="2407"/>
                  <a:pt x="0" y="5389"/>
                </a:cubicBezTo>
                <a:lnTo>
                  <a:pt x="0" y="16211"/>
                </a:lnTo>
                <a:cubicBezTo>
                  <a:pt x="0" y="19193"/>
                  <a:pt x="4825" y="21600"/>
                  <a:pt x="10800" y="21600"/>
                </a:cubicBezTo>
                <a:cubicBezTo>
                  <a:pt x="16775" y="21600"/>
                  <a:pt x="21600" y="19193"/>
                  <a:pt x="21600" y="16211"/>
                </a:cubicBezTo>
                <a:lnTo>
                  <a:pt x="21600" y="5389"/>
                </a:lnTo>
                <a:close/>
              </a:path>
            </a:pathLst>
          </a:custGeom>
          <a:solidFill>
            <a:srgbClr val="C3B5FF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F74BB3E9-E61B-FEAF-6B2E-884E1341290F}"/>
              </a:ext>
            </a:extLst>
          </p:cNvPr>
          <p:cNvSpPr/>
          <p:nvPr/>
        </p:nvSpPr>
        <p:spPr>
          <a:xfrm>
            <a:off x="5585052" y="2967960"/>
            <a:ext cx="2293925" cy="27880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26" y="0"/>
                  <a:pt x="0" y="3970"/>
                  <a:pt x="0" y="8886"/>
                </a:cubicBezTo>
                <a:lnTo>
                  <a:pt x="0" y="12714"/>
                </a:lnTo>
                <a:cubicBezTo>
                  <a:pt x="0" y="17630"/>
                  <a:pt x="4826" y="21600"/>
                  <a:pt x="10800" y="21600"/>
                </a:cubicBezTo>
                <a:cubicBezTo>
                  <a:pt x="16774" y="21600"/>
                  <a:pt x="21600" y="17630"/>
                  <a:pt x="21600" y="12714"/>
                </a:cubicBezTo>
                <a:lnTo>
                  <a:pt x="21600" y="8886"/>
                </a:lnTo>
                <a:cubicBezTo>
                  <a:pt x="21600" y="3970"/>
                  <a:pt x="16774" y="0"/>
                  <a:pt x="10800" y="0"/>
                </a:cubicBezTo>
                <a:close/>
              </a:path>
            </a:pathLst>
          </a:custGeom>
          <a:solidFill>
            <a:srgbClr val="6947FF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643B2724-4E95-6C73-4067-283C05DEA4E6}"/>
              </a:ext>
            </a:extLst>
          </p:cNvPr>
          <p:cNvSpPr/>
          <p:nvPr/>
        </p:nvSpPr>
        <p:spPr>
          <a:xfrm>
            <a:off x="5585055" y="2967959"/>
            <a:ext cx="2293919" cy="229391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6947FF"/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  <a:sym typeface="Helvetica Light"/>
            </a:endParaRPr>
          </a:p>
        </p:txBody>
      </p:sp>
      <p:sp>
        <p:nvSpPr>
          <p:cNvPr id="12" name="TextBox 54">
            <a:extLst>
              <a:ext uri="{FF2B5EF4-FFF2-40B4-BE49-F238E27FC236}">
                <a16:creationId xmlns:a16="http://schemas.microsoft.com/office/drawing/2014/main" id="{F8133C96-CB97-C48C-1360-55EF85305344}"/>
              </a:ext>
            </a:extLst>
          </p:cNvPr>
          <p:cNvSpPr txBox="1"/>
          <p:nvPr/>
        </p:nvSpPr>
        <p:spPr>
          <a:xfrm>
            <a:off x="5229290" y="2186118"/>
            <a:ext cx="2977219" cy="48628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60" b="1" noProof="1"/>
              <a:t>Urban transport</a:t>
            </a:r>
          </a:p>
        </p:txBody>
      </p:sp>
      <p:sp>
        <p:nvSpPr>
          <p:cNvPr id="13" name="TextBox 55">
            <a:extLst>
              <a:ext uri="{FF2B5EF4-FFF2-40B4-BE49-F238E27FC236}">
                <a16:creationId xmlns:a16="http://schemas.microsoft.com/office/drawing/2014/main" id="{984845DF-B3F2-BCCC-1FF7-9709435C8BEA}"/>
              </a:ext>
            </a:extLst>
          </p:cNvPr>
          <p:cNvSpPr txBox="1"/>
          <p:nvPr/>
        </p:nvSpPr>
        <p:spPr>
          <a:xfrm>
            <a:off x="5664573" y="6135830"/>
            <a:ext cx="2192939" cy="149322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707"/>
              </a:spcAft>
              <a:buClrTx/>
              <a:buSzTx/>
              <a:buFontTx/>
              <a:buNone/>
              <a:tabLst/>
              <a:defRPr/>
            </a:pPr>
            <a:r>
              <a:rPr lang="en-US" sz="2276" noProof="1">
                <a:solidFill>
                  <a:srgbClr val="191C1F"/>
                </a:solidFill>
                <a:latin typeface="Arial" panose="020B0604020202020204"/>
                <a:sym typeface="Helvetica Light"/>
              </a:rPr>
              <a:t>9</a:t>
            </a:r>
            <a:r>
              <a:rPr kumimoji="0" lang="en-US" sz="2276" b="0" i="0" u="none" strike="noStrike" kern="1200" cap="none" spc="0" normalizeH="0" baseline="0" noProof="1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 cities with metropolitan rail networks and 12 cities with trams</a:t>
            </a: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E74BF63-3A8C-C07D-A969-02FC76B4FFA6}"/>
              </a:ext>
            </a:extLst>
          </p:cNvPr>
          <p:cNvSpPr/>
          <p:nvPr/>
        </p:nvSpPr>
        <p:spPr>
          <a:xfrm>
            <a:off x="8967245" y="3211994"/>
            <a:ext cx="2977219" cy="5242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5389"/>
                </a:moveTo>
                <a:cubicBezTo>
                  <a:pt x="21600" y="2407"/>
                  <a:pt x="16775" y="0"/>
                  <a:pt x="10800" y="0"/>
                </a:cubicBezTo>
                <a:cubicBezTo>
                  <a:pt x="4825" y="0"/>
                  <a:pt x="0" y="2407"/>
                  <a:pt x="0" y="5389"/>
                </a:cubicBezTo>
                <a:lnTo>
                  <a:pt x="0" y="16211"/>
                </a:lnTo>
                <a:cubicBezTo>
                  <a:pt x="0" y="19193"/>
                  <a:pt x="4825" y="21600"/>
                  <a:pt x="10800" y="21600"/>
                </a:cubicBezTo>
                <a:cubicBezTo>
                  <a:pt x="16775" y="21600"/>
                  <a:pt x="21600" y="19193"/>
                  <a:pt x="21600" y="16211"/>
                </a:cubicBezTo>
                <a:lnTo>
                  <a:pt x="21600" y="5389"/>
                </a:lnTo>
                <a:close/>
              </a:path>
            </a:pathLst>
          </a:custGeom>
          <a:solidFill>
            <a:srgbClr val="34373B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15" name="Shape">
            <a:extLst>
              <a:ext uri="{FF2B5EF4-FFF2-40B4-BE49-F238E27FC236}">
                <a16:creationId xmlns:a16="http://schemas.microsoft.com/office/drawing/2014/main" id="{89A16399-0174-67BC-5794-21D301B362EC}"/>
              </a:ext>
            </a:extLst>
          </p:cNvPr>
          <p:cNvSpPr/>
          <p:nvPr/>
        </p:nvSpPr>
        <p:spPr>
          <a:xfrm>
            <a:off x="9308894" y="2967960"/>
            <a:ext cx="2293925" cy="27880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26" y="0"/>
                  <a:pt x="0" y="3970"/>
                  <a:pt x="0" y="8886"/>
                </a:cubicBezTo>
                <a:lnTo>
                  <a:pt x="0" y="12714"/>
                </a:lnTo>
                <a:cubicBezTo>
                  <a:pt x="0" y="17630"/>
                  <a:pt x="4826" y="21600"/>
                  <a:pt x="10800" y="21600"/>
                </a:cubicBezTo>
                <a:cubicBezTo>
                  <a:pt x="16774" y="21600"/>
                  <a:pt x="21600" y="17630"/>
                  <a:pt x="21600" y="12714"/>
                </a:cubicBezTo>
                <a:lnTo>
                  <a:pt x="21600" y="8886"/>
                </a:lnTo>
                <a:cubicBezTo>
                  <a:pt x="21600" y="3970"/>
                  <a:pt x="16774" y="0"/>
                  <a:pt x="10800" y="0"/>
                </a:cubicBezTo>
                <a:close/>
              </a:path>
            </a:pathLst>
          </a:custGeom>
          <a:solidFill>
            <a:srgbClr val="191C1F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16" name="Circle">
            <a:extLst>
              <a:ext uri="{FF2B5EF4-FFF2-40B4-BE49-F238E27FC236}">
                <a16:creationId xmlns:a16="http://schemas.microsoft.com/office/drawing/2014/main" id="{55910BF6-2418-5531-95A3-C926D3677C1E}"/>
              </a:ext>
            </a:extLst>
          </p:cNvPr>
          <p:cNvSpPr/>
          <p:nvPr/>
        </p:nvSpPr>
        <p:spPr>
          <a:xfrm>
            <a:off x="9308895" y="2967959"/>
            <a:ext cx="2293919" cy="229391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191C1F"/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17" name="TextBox 57">
            <a:extLst>
              <a:ext uri="{FF2B5EF4-FFF2-40B4-BE49-F238E27FC236}">
                <a16:creationId xmlns:a16="http://schemas.microsoft.com/office/drawing/2014/main" id="{61F28131-FF27-8E2F-DC10-A7A45344BE3D}"/>
              </a:ext>
            </a:extLst>
          </p:cNvPr>
          <p:cNvSpPr txBox="1"/>
          <p:nvPr/>
        </p:nvSpPr>
        <p:spPr>
          <a:xfrm>
            <a:off x="9359386" y="2186118"/>
            <a:ext cx="2156799" cy="48628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60" b="1" i="0" u="none" strike="noStrike" kern="1200" cap="none" spc="0" normalizeH="0" baseline="0" noProof="1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ERTMS</a:t>
            </a:r>
          </a:p>
        </p:txBody>
      </p:sp>
      <p:sp>
        <p:nvSpPr>
          <p:cNvPr id="18" name="TextBox 58">
            <a:extLst>
              <a:ext uri="{FF2B5EF4-FFF2-40B4-BE49-F238E27FC236}">
                <a16:creationId xmlns:a16="http://schemas.microsoft.com/office/drawing/2014/main" id="{84272353-18E3-94F1-F615-CB01AF9A063F}"/>
              </a:ext>
            </a:extLst>
          </p:cNvPr>
          <p:cNvSpPr txBox="1"/>
          <p:nvPr/>
        </p:nvSpPr>
        <p:spPr>
          <a:xfrm>
            <a:off x="9344871" y="6135829"/>
            <a:ext cx="2293925" cy="149322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70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76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At the forefront of ERTMS signalling with more than 2.700 km</a:t>
            </a:r>
          </a:p>
        </p:txBody>
      </p:sp>
      <p:sp>
        <p:nvSpPr>
          <p:cNvPr id="19" name="Shape">
            <a:extLst>
              <a:ext uri="{FF2B5EF4-FFF2-40B4-BE49-F238E27FC236}">
                <a16:creationId xmlns:a16="http://schemas.microsoft.com/office/drawing/2014/main" id="{D4967B71-B7BD-8E76-197A-A6B4E9B208EF}"/>
              </a:ext>
            </a:extLst>
          </p:cNvPr>
          <p:cNvSpPr/>
          <p:nvPr/>
        </p:nvSpPr>
        <p:spPr>
          <a:xfrm>
            <a:off x="12691087" y="3211994"/>
            <a:ext cx="2977219" cy="5242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5389"/>
                </a:moveTo>
                <a:cubicBezTo>
                  <a:pt x="21600" y="2407"/>
                  <a:pt x="16775" y="0"/>
                  <a:pt x="10800" y="0"/>
                </a:cubicBezTo>
                <a:cubicBezTo>
                  <a:pt x="4825" y="0"/>
                  <a:pt x="0" y="2407"/>
                  <a:pt x="0" y="5389"/>
                </a:cubicBezTo>
                <a:lnTo>
                  <a:pt x="0" y="16211"/>
                </a:lnTo>
                <a:cubicBezTo>
                  <a:pt x="0" y="19193"/>
                  <a:pt x="4825" y="21600"/>
                  <a:pt x="10800" y="21600"/>
                </a:cubicBezTo>
                <a:cubicBezTo>
                  <a:pt x="16775" y="21600"/>
                  <a:pt x="21600" y="19193"/>
                  <a:pt x="21600" y="16211"/>
                </a:cubicBezTo>
                <a:lnTo>
                  <a:pt x="21600" y="5389"/>
                </a:lnTo>
                <a:close/>
              </a:path>
            </a:pathLst>
          </a:custGeom>
          <a:solidFill>
            <a:srgbClr val="9FAAAF"/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0" name="Shape">
            <a:extLst>
              <a:ext uri="{FF2B5EF4-FFF2-40B4-BE49-F238E27FC236}">
                <a16:creationId xmlns:a16="http://schemas.microsoft.com/office/drawing/2014/main" id="{D0C630E3-804D-5826-8F7D-649E6204DFB3}"/>
              </a:ext>
            </a:extLst>
          </p:cNvPr>
          <p:cNvSpPr/>
          <p:nvPr/>
        </p:nvSpPr>
        <p:spPr>
          <a:xfrm>
            <a:off x="13032734" y="2967960"/>
            <a:ext cx="2293925" cy="27880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26" y="0"/>
                  <a:pt x="0" y="3970"/>
                  <a:pt x="0" y="8886"/>
                </a:cubicBezTo>
                <a:lnTo>
                  <a:pt x="0" y="12714"/>
                </a:lnTo>
                <a:cubicBezTo>
                  <a:pt x="0" y="17630"/>
                  <a:pt x="4826" y="21600"/>
                  <a:pt x="10800" y="21600"/>
                </a:cubicBezTo>
                <a:cubicBezTo>
                  <a:pt x="16774" y="21600"/>
                  <a:pt x="21600" y="17630"/>
                  <a:pt x="21600" y="12714"/>
                </a:cubicBezTo>
                <a:lnTo>
                  <a:pt x="21600" y="8886"/>
                </a:lnTo>
                <a:cubicBezTo>
                  <a:pt x="21600" y="3970"/>
                  <a:pt x="16774" y="0"/>
                  <a:pt x="10800" y="0"/>
                </a:cubicBezTo>
                <a:close/>
              </a:path>
            </a:pathLst>
          </a:custGeom>
          <a:solidFill>
            <a:srgbClr val="9FAAAF">
              <a:lumMod val="75000"/>
            </a:srgbClr>
          </a:solidFill>
          <a:ln w="12700"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1" name="Circle">
            <a:extLst>
              <a:ext uri="{FF2B5EF4-FFF2-40B4-BE49-F238E27FC236}">
                <a16:creationId xmlns:a16="http://schemas.microsoft.com/office/drawing/2014/main" id="{4EB6E55B-4827-42F1-9CB1-9482DD0E6703}"/>
              </a:ext>
            </a:extLst>
          </p:cNvPr>
          <p:cNvSpPr/>
          <p:nvPr/>
        </p:nvSpPr>
        <p:spPr>
          <a:xfrm>
            <a:off x="13032735" y="2967959"/>
            <a:ext cx="2293919" cy="229391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9FAAAF">
                <a:lumMod val="75000"/>
              </a:srgbClr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2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  <a:sym typeface="Helvetica Light"/>
            </a:endParaRPr>
          </a:p>
        </p:txBody>
      </p:sp>
      <p:sp>
        <p:nvSpPr>
          <p:cNvPr id="22" name="TextBox 60">
            <a:extLst>
              <a:ext uri="{FF2B5EF4-FFF2-40B4-BE49-F238E27FC236}">
                <a16:creationId xmlns:a16="http://schemas.microsoft.com/office/drawing/2014/main" id="{43672F4E-7068-6864-2230-80C011DC3275}"/>
              </a:ext>
            </a:extLst>
          </p:cNvPr>
          <p:cNvSpPr txBox="1"/>
          <p:nvPr/>
        </p:nvSpPr>
        <p:spPr>
          <a:xfrm>
            <a:off x="12586661" y="2186118"/>
            <a:ext cx="3127737" cy="48628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60" b="1" noProof="1"/>
              <a:t>Automated lines</a:t>
            </a:r>
          </a:p>
        </p:txBody>
      </p:sp>
      <p:sp>
        <p:nvSpPr>
          <p:cNvPr id="23" name="TextBox 61">
            <a:extLst>
              <a:ext uri="{FF2B5EF4-FFF2-40B4-BE49-F238E27FC236}">
                <a16:creationId xmlns:a16="http://schemas.microsoft.com/office/drawing/2014/main" id="{7A80BDFC-4874-C25F-77AF-4766F9927A4D}"/>
              </a:ext>
            </a:extLst>
          </p:cNvPr>
          <p:cNvSpPr txBox="1"/>
          <p:nvPr/>
        </p:nvSpPr>
        <p:spPr>
          <a:xfrm>
            <a:off x="13020341" y="6135829"/>
            <a:ext cx="2344418" cy="149322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76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 Light"/>
              </a:rPr>
              <a:t>Most extensive automatic metro line in Europe (Barcelona’s L9)</a:t>
            </a: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08242751-A2B5-1C63-1CC5-E5BD5DE07A2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37533" y="3476505"/>
            <a:ext cx="1145725" cy="1115967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169DE823-F7EA-639F-338E-24DD82794B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5371" y="3589651"/>
            <a:ext cx="742928" cy="994766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952483DA-109C-5145-410C-7991F233161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9FAAAF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13615145" y="3496366"/>
            <a:ext cx="1158263" cy="1187964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99A70984-F173-E670-C969-8EDD54AB2DA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32483" y="3570601"/>
            <a:ext cx="1635162" cy="97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124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F8DFD0F-C3F1-B3EF-FC11-5A8D805373A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93837D1-94BE-4B0F-B68E-8D00E1844AF6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dirty="0">
                <a:latin typeface="Arial"/>
                <a:cs typeface="Arial"/>
              </a:rPr>
              <a:t>High-speed: main Spanish projects in the world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3B6B0D3-D174-A9A7-6303-8F449D657570}"/>
              </a:ext>
            </a:extLst>
          </p:cNvPr>
          <p:cNvGrpSpPr>
            <a:grpSpLocks noChangeAspect="1"/>
          </p:cNvGrpSpPr>
          <p:nvPr/>
        </p:nvGrpSpPr>
        <p:grpSpPr>
          <a:xfrm>
            <a:off x="15846494" y="910085"/>
            <a:ext cx="792000" cy="792000"/>
            <a:chOff x="1861006" y="2742924"/>
            <a:chExt cx="2293989" cy="2293989"/>
          </a:xfrm>
        </p:grpSpPr>
        <p:sp>
          <p:nvSpPr>
            <p:cNvPr id="5" name="Circle">
              <a:extLst>
                <a:ext uri="{FF2B5EF4-FFF2-40B4-BE49-F238E27FC236}">
                  <a16:creationId xmlns:a16="http://schemas.microsoft.com/office/drawing/2014/main" id="{460AB184-0EA0-E7B0-DF1E-41186B937BEB}"/>
                </a:ext>
              </a:extLst>
            </p:cNvPr>
            <p:cNvSpPr/>
            <p:nvPr/>
          </p:nvSpPr>
          <p:spPr>
            <a:xfrm>
              <a:off x="1861006" y="2742924"/>
              <a:ext cx="2293989" cy="229398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FF00FF"/>
              </a:solidFill>
              <a:miter lim="400000"/>
            </a:ln>
          </p:spPr>
          <p:txBody>
            <a:bodyPr lIns="54185" tIns="54185" rIns="54185" bIns="5418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endParaRPr sz="4267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/>
              </a:endParaRPr>
            </a:p>
          </p:txBody>
        </p:sp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ED2B6406-F489-8116-FAD9-844F3006E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132283" y="3345584"/>
              <a:ext cx="1635211" cy="979330"/>
            </a:xfrm>
            <a:prstGeom prst="rect">
              <a:avLst/>
            </a:prstGeom>
          </p:spPr>
        </p:pic>
      </p:grpSp>
      <p:sp>
        <p:nvSpPr>
          <p:cNvPr id="7" name="TextBox 51">
            <a:extLst>
              <a:ext uri="{FF2B5EF4-FFF2-40B4-BE49-F238E27FC236}">
                <a16:creationId xmlns:a16="http://schemas.microsoft.com/office/drawing/2014/main" id="{44B100F1-4440-1C9B-B3CB-A081E563B6C1}"/>
              </a:ext>
            </a:extLst>
          </p:cNvPr>
          <p:cNvSpPr txBox="1"/>
          <p:nvPr/>
        </p:nvSpPr>
        <p:spPr>
          <a:xfrm>
            <a:off x="13864635" y="1121419"/>
            <a:ext cx="2156864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noProof="1"/>
              <a:t>High-speed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40E26878-DC8A-F864-FDAA-A2334FABDCF8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-58060" y="4694951"/>
            <a:ext cx="17317527" cy="1116000"/>
            <a:chOff x="347115" y="4317585"/>
            <a:chExt cx="15378248" cy="991037"/>
          </a:xfrm>
        </p:grpSpPr>
        <p:pic>
          <p:nvPicPr>
            <p:cNvPr id="11" name="Picture 2" descr="Free Bullet Train Cliparts, Download Free Bullet Train Cliparts png images,  Free ClipArts on Clipart Library">
              <a:extLst>
                <a:ext uri="{FF2B5EF4-FFF2-40B4-BE49-F238E27FC236}">
                  <a16:creationId xmlns:a16="http://schemas.microsoft.com/office/drawing/2014/main" id="{AD78C1AC-368D-A8B1-6E75-1B68A37DE8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115" y="4317585"/>
              <a:ext cx="5218112" cy="991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Free Bullet Train Cliparts, Download Free Bullet Train Cliparts png images,  Free ClipArts on Clipart Library">
              <a:extLst>
                <a:ext uri="{FF2B5EF4-FFF2-40B4-BE49-F238E27FC236}">
                  <a16:creationId xmlns:a16="http://schemas.microsoft.com/office/drawing/2014/main" id="{E76A3867-E2EF-C780-9AA9-235B750DD7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 bwMode="auto">
            <a:xfrm>
              <a:off x="5492590" y="4317585"/>
              <a:ext cx="2609055" cy="991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 descr="Free Bullet Train Cliparts, Download Free Bullet Train Cliparts png images,  Free ClipArts on Clipart Library">
              <a:extLst>
                <a:ext uri="{FF2B5EF4-FFF2-40B4-BE49-F238E27FC236}">
                  <a16:creationId xmlns:a16="http://schemas.microsoft.com/office/drawing/2014/main" id="{AC60CA6F-541A-CF83-A172-C189EF9038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 bwMode="auto">
            <a:xfrm>
              <a:off x="8033065" y="4317585"/>
              <a:ext cx="2609055" cy="991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Free Bullet Train Cliparts, Download Free Bullet Train Cliparts png images,  Free ClipArts on Clipart Library">
              <a:extLst>
                <a:ext uri="{FF2B5EF4-FFF2-40B4-BE49-F238E27FC236}">
                  <a16:creationId xmlns:a16="http://schemas.microsoft.com/office/drawing/2014/main" id="{60F8759A-43C9-7927-C059-FFDAC2EE3D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 bwMode="auto">
            <a:xfrm>
              <a:off x="10575833" y="4317585"/>
              <a:ext cx="2609055" cy="991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Free Bullet Train Cliparts, Download Free Bullet Train Cliparts png images,  Free ClipArts on Clipart Library">
              <a:extLst>
                <a:ext uri="{FF2B5EF4-FFF2-40B4-BE49-F238E27FC236}">
                  <a16:creationId xmlns:a16="http://schemas.microsoft.com/office/drawing/2014/main" id="{44611D9F-FCA4-4CA6-393F-028A4F6309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 bwMode="auto">
            <a:xfrm>
              <a:off x="13116308" y="4317585"/>
              <a:ext cx="2609055" cy="991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" name="Picture 14" descr="http://www.google.es/images?q=tbn:tP9mkzxdvABTMM::www.viajes.es/europa/finlandia/finlandia-bandera-de-finlandia-ip2.gif&amp;h=94&amp;w=141&amp;usg=__h8Os4MkYxs0bFzo2CQMW6Mhv3AI=">
            <a:hlinkClick r:id="rId5"/>
            <a:extLst>
              <a:ext uri="{FF2B5EF4-FFF2-40B4-BE49-F238E27FC236}">
                <a16:creationId xmlns:a16="http://schemas.microsoft.com/office/drawing/2014/main" id="{C5CF6C0A-581B-71F4-DB5E-5370788D8E2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3126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4211F20E-BC52-0290-8CA9-43D15D7D4FC4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99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4,598 Bandera De Letonia Vectores, Ilustraciones y Gráficos - 123RF">
            <a:extLst>
              <a:ext uri="{FF2B5EF4-FFF2-40B4-BE49-F238E27FC236}">
                <a16:creationId xmlns:a16="http://schemas.microsoft.com/office/drawing/2014/main" id="{9C237EE6-C30B-DD24-AEC6-701B70A0996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272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>
            <a:extLst>
              <a:ext uri="{FF2B5EF4-FFF2-40B4-BE49-F238E27FC236}">
                <a16:creationId xmlns:a16="http://schemas.microsoft.com/office/drawing/2014/main" id="{06F1C3C7-8D73-C44F-AC4F-E7A0F5D30D6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4845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>
            <a:extLst>
              <a:ext uri="{FF2B5EF4-FFF2-40B4-BE49-F238E27FC236}">
                <a16:creationId xmlns:a16="http://schemas.microsoft.com/office/drawing/2014/main" id="{BB5728B0-A97B-79DC-E869-11EE50466DB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420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upo 20">
            <a:extLst>
              <a:ext uri="{FF2B5EF4-FFF2-40B4-BE49-F238E27FC236}">
                <a16:creationId xmlns:a16="http://schemas.microsoft.com/office/drawing/2014/main" id="{1A4510FB-150B-4D85-3989-F8418EE4B94C}"/>
              </a:ext>
            </a:extLst>
          </p:cNvPr>
          <p:cNvGrpSpPr/>
          <p:nvPr/>
        </p:nvGrpSpPr>
        <p:grpSpPr>
          <a:xfrm>
            <a:off x="124113" y="2512657"/>
            <a:ext cx="2664155" cy="2340808"/>
            <a:chOff x="124113" y="2164319"/>
            <a:chExt cx="2664155" cy="2340808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C674BC2F-5028-2787-5753-C9268DF6C5FE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24DF90BC-24A9-11DC-4222-47CB88C70015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4" name="TextBox 20">
              <a:extLst>
                <a:ext uri="{FF2B5EF4-FFF2-40B4-BE49-F238E27FC236}">
                  <a16:creationId xmlns:a16="http://schemas.microsoft.com/office/drawing/2014/main" id="{5B1E0882-2AC3-3631-1C17-4DB83C765FDA}"/>
                </a:ext>
              </a:extLst>
            </p:cNvPr>
            <p:cNvSpPr txBox="1"/>
            <p:nvPr/>
          </p:nvSpPr>
          <p:spPr>
            <a:xfrm>
              <a:off x="124113" y="2164319"/>
              <a:ext cx="2664155" cy="33855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Baltic rail</a:t>
              </a:r>
            </a:p>
          </p:txBody>
        </p:sp>
        <p:sp>
          <p:nvSpPr>
            <p:cNvPr id="25" name="TextBox 20">
              <a:extLst>
                <a:ext uri="{FF2B5EF4-FFF2-40B4-BE49-F238E27FC236}">
                  <a16:creationId xmlns:a16="http://schemas.microsoft.com/office/drawing/2014/main" id="{3D21A954-FB01-3AB5-5C9E-55F1A73ACDAC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Baltic Countries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389E6666-A126-BE68-458C-5B2E65BA34CC}"/>
              </a:ext>
            </a:extLst>
          </p:cNvPr>
          <p:cNvGrpSpPr/>
          <p:nvPr/>
        </p:nvGrpSpPr>
        <p:grpSpPr>
          <a:xfrm>
            <a:off x="124113" y="6755717"/>
            <a:ext cx="2664155" cy="1069813"/>
            <a:chOff x="124113" y="2041209"/>
            <a:chExt cx="2664155" cy="1069813"/>
          </a:xfrm>
        </p:grpSpPr>
        <p:sp>
          <p:nvSpPr>
            <p:cNvPr id="27" name="TextBox 20">
              <a:extLst>
                <a:ext uri="{FF2B5EF4-FFF2-40B4-BE49-F238E27FC236}">
                  <a16:creationId xmlns:a16="http://schemas.microsoft.com/office/drawing/2014/main" id="{B00E32B2-D1C8-1075-76B8-3205CEE26D0B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Ankara-Istanbul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leg</a:t>
              </a:r>
            </a:p>
          </p:txBody>
        </p:sp>
        <p:sp>
          <p:nvSpPr>
            <p:cNvPr id="28" name="TextBox 20">
              <a:extLst>
                <a:ext uri="{FF2B5EF4-FFF2-40B4-BE49-F238E27FC236}">
                  <a16:creationId xmlns:a16="http://schemas.microsoft.com/office/drawing/2014/main" id="{18ED641B-004A-D47B-D074-CC3D3D808423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Turkey</a:t>
              </a:r>
            </a:p>
          </p:txBody>
        </p:sp>
      </p:grpSp>
      <p:sp>
        <p:nvSpPr>
          <p:cNvPr id="29" name="Elipse 28">
            <a:extLst>
              <a:ext uri="{FF2B5EF4-FFF2-40B4-BE49-F238E27FC236}">
                <a16:creationId xmlns:a16="http://schemas.microsoft.com/office/drawing/2014/main" id="{C53F34DB-80EA-B59B-05D2-EF476DE91032}"/>
              </a:ext>
            </a:extLst>
          </p:cNvPr>
          <p:cNvSpPr/>
          <p:nvPr/>
        </p:nvSpPr>
        <p:spPr>
          <a:xfrm>
            <a:off x="1312190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498F114C-8EF0-DB4E-532C-1460B0B42315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1456190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31" name="Grupo 30">
            <a:extLst>
              <a:ext uri="{FF2B5EF4-FFF2-40B4-BE49-F238E27FC236}">
                <a16:creationId xmlns:a16="http://schemas.microsoft.com/office/drawing/2014/main" id="{87F7D0D2-7B40-0D99-1384-DF8875627338}"/>
              </a:ext>
            </a:extLst>
          </p:cNvPr>
          <p:cNvGrpSpPr/>
          <p:nvPr/>
        </p:nvGrpSpPr>
        <p:grpSpPr>
          <a:xfrm>
            <a:off x="2972403" y="2512657"/>
            <a:ext cx="2664155" cy="2340808"/>
            <a:chOff x="124113" y="2164319"/>
            <a:chExt cx="2664155" cy="2340808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B2213C9B-E21C-9366-EF0E-E306663E9B42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33" name="Conector recto 32">
              <a:extLst>
                <a:ext uri="{FF2B5EF4-FFF2-40B4-BE49-F238E27FC236}">
                  <a16:creationId xmlns:a16="http://schemas.microsoft.com/office/drawing/2014/main" id="{4F7BB6D8-D864-C16A-C1DC-1F9805A22118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4" name="TextBox 20">
              <a:extLst>
                <a:ext uri="{FF2B5EF4-FFF2-40B4-BE49-F238E27FC236}">
                  <a16:creationId xmlns:a16="http://schemas.microsoft.com/office/drawing/2014/main" id="{718E77AE-E31E-889E-0E5D-E14DE014A204}"/>
                </a:ext>
              </a:extLst>
            </p:cNvPr>
            <p:cNvSpPr txBox="1"/>
            <p:nvPr/>
          </p:nvSpPr>
          <p:spPr>
            <a:xfrm>
              <a:off x="124113" y="2164319"/>
              <a:ext cx="2664155" cy="33855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Follo Line</a:t>
              </a:r>
            </a:p>
          </p:txBody>
        </p:sp>
        <p:sp>
          <p:nvSpPr>
            <p:cNvPr id="35" name="TextBox 20">
              <a:extLst>
                <a:ext uri="{FF2B5EF4-FFF2-40B4-BE49-F238E27FC236}">
                  <a16:creationId xmlns:a16="http://schemas.microsoft.com/office/drawing/2014/main" id="{4667B9DA-62F1-61DD-3925-64002F555DB5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Norway</a:t>
              </a: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2584B641-2B77-C15E-AFD4-3D84C15238FE}"/>
              </a:ext>
            </a:extLst>
          </p:cNvPr>
          <p:cNvGrpSpPr/>
          <p:nvPr/>
        </p:nvGrpSpPr>
        <p:grpSpPr>
          <a:xfrm>
            <a:off x="2972403" y="6755717"/>
            <a:ext cx="2664155" cy="1069813"/>
            <a:chOff x="124113" y="2041209"/>
            <a:chExt cx="2664155" cy="1069813"/>
          </a:xfrm>
        </p:grpSpPr>
        <p:sp>
          <p:nvSpPr>
            <p:cNvPr id="37" name="TextBox 20">
              <a:extLst>
                <a:ext uri="{FF2B5EF4-FFF2-40B4-BE49-F238E27FC236}">
                  <a16:creationId xmlns:a16="http://schemas.microsoft.com/office/drawing/2014/main" id="{3A936F8E-4B4D-0E2A-5A0A-584A72CA7651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alkali-Kapikule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project</a:t>
              </a:r>
            </a:p>
          </p:txBody>
        </p:sp>
        <p:sp>
          <p:nvSpPr>
            <p:cNvPr id="38" name="TextBox 20">
              <a:extLst>
                <a:ext uri="{FF2B5EF4-FFF2-40B4-BE49-F238E27FC236}">
                  <a16:creationId xmlns:a16="http://schemas.microsoft.com/office/drawing/2014/main" id="{6353E27A-2367-4D0D-AF7D-5C4BDE2D9D21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Turkey</a:t>
              </a:r>
            </a:p>
          </p:txBody>
        </p:sp>
      </p:grpSp>
      <p:sp>
        <p:nvSpPr>
          <p:cNvPr id="39" name="Elipse 38">
            <a:extLst>
              <a:ext uri="{FF2B5EF4-FFF2-40B4-BE49-F238E27FC236}">
                <a16:creationId xmlns:a16="http://schemas.microsoft.com/office/drawing/2014/main" id="{31B51FD5-00E4-5BE1-9873-B12CFDA05099}"/>
              </a:ext>
            </a:extLst>
          </p:cNvPr>
          <p:cNvSpPr/>
          <p:nvPr/>
        </p:nvSpPr>
        <p:spPr>
          <a:xfrm>
            <a:off x="4209364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30B9A975-9B24-925C-9CAE-8E17230128CA}"/>
              </a:ext>
            </a:extLst>
          </p:cNvPr>
          <p:cNvCxnSpPr>
            <a:cxnSpLocks/>
            <a:stCxn id="39" idx="4"/>
          </p:cNvCxnSpPr>
          <p:nvPr/>
        </p:nvCxnSpPr>
        <p:spPr>
          <a:xfrm>
            <a:off x="4353364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41" name="Grupo 40">
            <a:extLst>
              <a:ext uri="{FF2B5EF4-FFF2-40B4-BE49-F238E27FC236}">
                <a16:creationId xmlns:a16="http://schemas.microsoft.com/office/drawing/2014/main" id="{7CE6A547-D679-7D8A-4376-9AC7830C01E5}"/>
              </a:ext>
            </a:extLst>
          </p:cNvPr>
          <p:cNvGrpSpPr/>
          <p:nvPr/>
        </p:nvGrpSpPr>
        <p:grpSpPr>
          <a:xfrm>
            <a:off x="5820693" y="2389547"/>
            <a:ext cx="2664155" cy="2463918"/>
            <a:chOff x="124113" y="2041209"/>
            <a:chExt cx="2664155" cy="2463918"/>
          </a:xfrm>
        </p:grpSpPr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9C0F8720-846B-83C5-61C8-5BBDB86EF888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43" name="Conector recto 42">
              <a:extLst>
                <a:ext uri="{FF2B5EF4-FFF2-40B4-BE49-F238E27FC236}">
                  <a16:creationId xmlns:a16="http://schemas.microsoft.com/office/drawing/2014/main" id="{E2011722-24D9-9747-0663-7205D6979298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4" name="TextBox 20">
              <a:extLst>
                <a:ext uri="{FF2B5EF4-FFF2-40B4-BE49-F238E27FC236}">
                  <a16:creationId xmlns:a16="http://schemas.microsoft.com/office/drawing/2014/main" id="{BDBDBA88-7BDB-E01C-FBD5-7293C3C918F8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Oslo Airport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Express Line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70A8163C-18EA-24CE-41DA-8B480D588670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Norway</a:t>
              </a:r>
            </a:p>
          </p:txBody>
        </p:sp>
      </p:grpSp>
      <p:grpSp>
        <p:nvGrpSpPr>
          <p:cNvPr id="46" name="Grupo 45">
            <a:extLst>
              <a:ext uri="{FF2B5EF4-FFF2-40B4-BE49-F238E27FC236}">
                <a16:creationId xmlns:a16="http://schemas.microsoft.com/office/drawing/2014/main" id="{C200E5AD-083B-FC2E-9D38-B8293A300131}"/>
              </a:ext>
            </a:extLst>
          </p:cNvPr>
          <p:cNvGrpSpPr/>
          <p:nvPr/>
        </p:nvGrpSpPr>
        <p:grpSpPr>
          <a:xfrm>
            <a:off x="5820693" y="6755717"/>
            <a:ext cx="2664155" cy="1069813"/>
            <a:chOff x="124113" y="2041209"/>
            <a:chExt cx="2664155" cy="1069813"/>
          </a:xfrm>
        </p:grpSpPr>
        <p:sp>
          <p:nvSpPr>
            <p:cNvPr id="47" name="TextBox 20">
              <a:extLst>
                <a:ext uri="{FF2B5EF4-FFF2-40B4-BE49-F238E27FC236}">
                  <a16:creationId xmlns:a16="http://schemas.microsoft.com/office/drawing/2014/main" id="{0F9F707B-3511-20A9-8555-6BD4B12BBC8B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Mecca-Medina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Line</a:t>
              </a:r>
            </a:p>
          </p:txBody>
        </p:sp>
        <p:sp>
          <p:nvSpPr>
            <p:cNvPr id="48" name="TextBox 20">
              <a:extLst>
                <a:ext uri="{FF2B5EF4-FFF2-40B4-BE49-F238E27FC236}">
                  <a16:creationId xmlns:a16="http://schemas.microsoft.com/office/drawing/2014/main" id="{2352022A-CC1E-9D64-30EE-0D62847646CD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Saudi Arabia</a:t>
              </a:r>
            </a:p>
          </p:txBody>
        </p:sp>
      </p:grpSp>
      <p:sp>
        <p:nvSpPr>
          <p:cNvPr id="49" name="Elipse 48">
            <a:extLst>
              <a:ext uri="{FF2B5EF4-FFF2-40B4-BE49-F238E27FC236}">
                <a16:creationId xmlns:a16="http://schemas.microsoft.com/office/drawing/2014/main" id="{451B9410-69EE-ADC7-8F3E-98D1F4788421}"/>
              </a:ext>
            </a:extLst>
          </p:cNvPr>
          <p:cNvSpPr/>
          <p:nvPr/>
        </p:nvSpPr>
        <p:spPr>
          <a:xfrm>
            <a:off x="6995560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B1A534D0-D4A8-ECB1-E61A-8E76DC8AF423}"/>
              </a:ext>
            </a:extLst>
          </p:cNvPr>
          <p:cNvCxnSpPr>
            <a:cxnSpLocks/>
            <a:stCxn id="49" idx="4"/>
          </p:cNvCxnSpPr>
          <p:nvPr/>
        </p:nvCxnSpPr>
        <p:spPr>
          <a:xfrm>
            <a:off x="7139560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51" name="Grupo 50">
            <a:extLst>
              <a:ext uri="{FF2B5EF4-FFF2-40B4-BE49-F238E27FC236}">
                <a16:creationId xmlns:a16="http://schemas.microsoft.com/office/drawing/2014/main" id="{9D9DABF1-D6E6-FCD6-C6B7-8434C3CD86FB}"/>
              </a:ext>
            </a:extLst>
          </p:cNvPr>
          <p:cNvGrpSpPr/>
          <p:nvPr/>
        </p:nvGrpSpPr>
        <p:grpSpPr>
          <a:xfrm>
            <a:off x="8668983" y="2512657"/>
            <a:ext cx="2664155" cy="2340808"/>
            <a:chOff x="124113" y="2164319"/>
            <a:chExt cx="2664155" cy="2340808"/>
          </a:xfrm>
        </p:grpSpPr>
        <p:sp>
          <p:nvSpPr>
            <p:cNvPr id="52" name="Elipse 51">
              <a:extLst>
                <a:ext uri="{FF2B5EF4-FFF2-40B4-BE49-F238E27FC236}">
                  <a16:creationId xmlns:a16="http://schemas.microsoft.com/office/drawing/2014/main" id="{7FDA9F14-2201-5E53-EE7A-F7D8FFED5E0F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53" name="Conector recto 52">
              <a:extLst>
                <a:ext uri="{FF2B5EF4-FFF2-40B4-BE49-F238E27FC236}">
                  <a16:creationId xmlns:a16="http://schemas.microsoft.com/office/drawing/2014/main" id="{7184327A-9FBA-984E-9C87-2B2525E3884A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4" name="TextBox 20">
              <a:extLst>
                <a:ext uri="{FF2B5EF4-FFF2-40B4-BE49-F238E27FC236}">
                  <a16:creationId xmlns:a16="http://schemas.microsoft.com/office/drawing/2014/main" id="{5DADE632-A021-1A8A-A8A8-7C50AADF6AD8}"/>
                </a:ext>
              </a:extLst>
            </p:cNvPr>
            <p:cNvSpPr txBox="1"/>
            <p:nvPr/>
          </p:nvSpPr>
          <p:spPr>
            <a:xfrm>
              <a:off x="124113" y="2164319"/>
              <a:ext cx="2664155" cy="33855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S2</a:t>
              </a:r>
            </a:p>
          </p:txBody>
        </p:sp>
        <p:sp>
          <p:nvSpPr>
            <p:cNvPr id="55" name="TextBox 20">
              <a:extLst>
                <a:ext uri="{FF2B5EF4-FFF2-40B4-BE49-F238E27FC236}">
                  <a16:creationId xmlns:a16="http://schemas.microsoft.com/office/drawing/2014/main" id="{6EE35FCD-3EC8-B6E5-E9F1-B30645E03F0D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Great Britain</a:t>
              </a:r>
            </a:p>
          </p:txBody>
        </p:sp>
      </p:grpSp>
      <p:grpSp>
        <p:nvGrpSpPr>
          <p:cNvPr id="56" name="Grupo 55">
            <a:extLst>
              <a:ext uri="{FF2B5EF4-FFF2-40B4-BE49-F238E27FC236}">
                <a16:creationId xmlns:a16="http://schemas.microsoft.com/office/drawing/2014/main" id="{0435E608-B612-57D5-1ED1-ED94A28A8D0B}"/>
              </a:ext>
            </a:extLst>
          </p:cNvPr>
          <p:cNvGrpSpPr/>
          <p:nvPr/>
        </p:nvGrpSpPr>
        <p:grpSpPr>
          <a:xfrm>
            <a:off x="8668983" y="6755717"/>
            <a:ext cx="2664155" cy="1069813"/>
            <a:chOff x="124113" y="2041209"/>
            <a:chExt cx="2664155" cy="1069813"/>
          </a:xfrm>
        </p:grpSpPr>
        <p:sp>
          <p:nvSpPr>
            <p:cNvPr id="57" name="TextBox 20">
              <a:extLst>
                <a:ext uri="{FF2B5EF4-FFF2-40B4-BE49-F238E27FC236}">
                  <a16:creationId xmlns:a16="http://schemas.microsoft.com/office/drawing/2014/main" id="{95DC3BBA-FEEC-CB90-BB6F-1B2AE3556ED9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New Delhi-Kolkata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Line</a:t>
              </a:r>
            </a:p>
          </p:txBody>
        </p:sp>
        <p:sp>
          <p:nvSpPr>
            <p:cNvPr id="58" name="TextBox 20">
              <a:extLst>
                <a:ext uri="{FF2B5EF4-FFF2-40B4-BE49-F238E27FC236}">
                  <a16:creationId xmlns:a16="http://schemas.microsoft.com/office/drawing/2014/main" id="{B0B2207C-AE2B-8AB6-D037-62102AF26353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India</a:t>
              </a:r>
            </a:p>
          </p:txBody>
        </p:sp>
      </p:grpSp>
      <p:sp>
        <p:nvSpPr>
          <p:cNvPr id="59" name="Elipse 58">
            <a:extLst>
              <a:ext uri="{FF2B5EF4-FFF2-40B4-BE49-F238E27FC236}">
                <a16:creationId xmlns:a16="http://schemas.microsoft.com/office/drawing/2014/main" id="{B141CE3E-9B06-1913-AE61-ED4E7B0CAE88}"/>
              </a:ext>
            </a:extLst>
          </p:cNvPr>
          <p:cNvSpPr/>
          <p:nvPr/>
        </p:nvSpPr>
        <p:spPr>
          <a:xfrm>
            <a:off x="9877639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D4E409F1-254B-27C2-44A2-97BA329A3BDE}"/>
              </a:ext>
            </a:extLst>
          </p:cNvPr>
          <p:cNvCxnSpPr>
            <a:cxnSpLocks/>
            <a:stCxn id="59" idx="4"/>
          </p:cNvCxnSpPr>
          <p:nvPr/>
        </p:nvCxnSpPr>
        <p:spPr>
          <a:xfrm>
            <a:off x="10021639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61" name="Grupo 60">
            <a:extLst>
              <a:ext uri="{FF2B5EF4-FFF2-40B4-BE49-F238E27FC236}">
                <a16:creationId xmlns:a16="http://schemas.microsoft.com/office/drawing/2014/main" id="{1DB21D2E-4023-8532-C169-9297A32D0A2D}"/>
              </a:ext>
            </a:extLst>
          </p:cNvPr>
          <p:cNvGrpSpPr/>
          <p:nvPr/>
        </p:nvGrpSpPr>
        <p:grpSpPr>
          <a:xfrm>
            <a:off x="11517273" y="2389547"/>
            <a:ext cx="2664155" cy="2463918"/>
            <a:chOff x="124113" y="2041209"/>
            <a:chExt cx="2664155" cy="2463918"/>
          </a:xfrm>
        </p:grpSpPr>
        <p:sp>
          <p:nvSpPr>
            <p:cNvPr id="62" name="Elipse 61">
              <a:extLst>
                <a:ext uri="{FF2B5EF4-FFF2-40B4-BE49-F238E27FC236}">
                  <a16:creationId xmlns:a16="http://schemas.microsoft.com/office/drawing/2014/main" id="{49C06BC6-9687-80D3-5010-23C94E7AA47F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63" name="Conector recto 62">
              <a:extLst>
                <a:ext uri="{FF2B5EF4-FFF2-40B4-BE49-F238E27FC236}">
                  <a16:creationId xmlns:a16="http://schemas.microsoft.com/office/drawing/2014/main" id="{E4470456-7E58-60AF-B2A8-9215B0944283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4" name="TextBox 20">
              <a:extLst>
                <a:ext uri="{FF2B5EF4-FFF2-40B4-BE49-F238E27FC236}">
                  <a16:creationId xmlns:a16="http://schemas.microsoft.com/office/drawing/2014/main" id="{14E1D5FB-8A65-3EEA-BF30-A8EC137EBDF0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Rome-Naples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Line</a:t>
              </a:r>
            </a:p>
          </p:txBody>
        </p:sp>
        <p:sp>
          <p:nvSpPr>
            <p:cNvPr id="65" name="TextBox 20">
              <a:extLst>
                <a:ext uri="{FF2B5EF4-FFF2-40B4-BE49-F238E27FC236}">
                  <a16:creationId xmlns:a16="http://schemas.microsoft.com/office/drawing/2014/main" id="{0FF42065-0E7F-97A5-55A7-97A8B08569A4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Italy</a:t>
              </a:r>
            </a:p>
          </p:txBody>
        </p: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81C5A138-0A47-CF16-4ACF-15FC0387B822}"/>
              </a:ext>
            </a:extLst>
          </p:cNvPr>
          <p:cNvGrpSpPr/>
          <p:nvPr/>
        </p:nvGrpSpPr>
        <p:grpSpPr>
          <a:xfrm>
            <a:off x="11517273" y="6755717"/>
            <a:ext cx="2664155" cy="1069813"/>
            <a:chOff x="124113" y="2041209"/>
            <a:chExt cx="2664155" cy="1069813"/>
          </a:xfrm>
        </p:grpSpPr>
        <p:sp>
          <p:nvSpPr>
            <p:cNvPr id="67" name="TextBox 20">
              <a:extLst>
                <a:ext uri="{FF2B5EF4-FFF2-40B4-BE49-F238E27FC236}">
                  <a16:creationId xmlns:a16="http://schemas.microsoft.com/office/drawing/2014/main" id="{671F0806-C90D-FBD0-7A00-13C8075F3E16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igh-speed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in California</a:t>
              </a:r>
            </a:p>
          </p:txBody>
        </p:sp>
        <p:sp>
          <p:nvSpPr>
            <p:cNvPr id="68" name="TextBox 20">
              <a:extLst>
                <a:ext uri="{FF2B5EF4-FFF2-40B4-BE49-F238E27FC236}">
                  <a16:creationId xmlns:a16="http://schemas.microsoft.com/office/drawing/2014/main" id="{59BFE47A-C7FD-2C34-72DB-D53115DFC284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United States</a:t>
              </a:r>
            </a:p>
          </p:txBody>
        </p:sp>
      </p:grpSp>
      <p:sp>
        <p:nvSpPr>
          <p:cNvPr id="69" name="Elipse 68">
            <a:extLst>
              <a:ext uri="{FF2B5EF4-FFF2-40B4-BE49-F238E27FC236}">
                <a16:creationId xmlns:a16="http://schemas.microsoft.com/office/drawing/2014/main" id="{2CA01FDA-A619-094B-1D44-9D15E1CF95F9}"/>
              </a:ext>
            </a:extLst>
          </p:cNvPr>
          <p:cNvSpPr/>
          <p:nvPr/>
        </p:nvSpPr>
        <p:spPr>
          <a:xfrm>
            <a:off x="12732536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1C5D1D16-99B6-4908-A773-2F8F6B1907DA}"/>
              </a:ext>
            </a:extLst>
          </p:cNvPr>
          <p:cNvCxnSpPr>
            <a:cxnSpLocks/>
            <a:stCxn id="69" idx="4"/>
          </p:cNvCxnSpPr>
          <p:nvPr/>
        </p:nvCxnSpPr>
        <p:spPr>
          <a:xfrm>
            <a:off x="12876536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71" name="Grupo 70">
            <a:extLst>
              <a:ext uri="{FF2B5EF4-FFF2-40B4-BE49-F238E27FC236}">
                <a16:creationId xmlns:a16="http://schemas.microsoft.com/office/drawing/2014/main" id="{8778695B-D79C-6A1C-3A48-47786722383E}"/>
              </a:ext>
            </a:extLst>
          </p:cNvPr>
          <p:cNvGrpSpPr/>
          <p:nvPr/>
        </p:nvGrpSpPr>
        <p:grpSpPr>
          <a:xfrm>
            <a:off x="14365562" y="2389547"/>
            <a:ext cx="2664155" cy="2463918"/>
            <a:chOff x="124113" y="2041209"/>
            <a:chExt cx="2664155" cy="2463918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F9F8151D-F21A-8205-E02F-05942A1BED0E}"/>
                </a:ext>
              </a:extLst>
            </p:cNvPr>
            <p:cNvSpPr/>
            <p:nvPr/>
          </p:nvSpPr>
          <p:spPr>
            <a:xfrm>
              <a:off x="1312190" y="4217127"/>
              <a:ext cx="288000" cy="288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cxnSp>
          <p:nvCxnSpPr>
            <p:cNvPr id="73" name="Conector recto 72">
              <a:extLst>
                <a:ext uri="{FF2B5EF4-FFF2-40B4-BE49-F238E27FC236}">
                  <a16:creationId xmlns:a16="http://schemas.microsoft.com/office/drawing/2014/main" id="{4E45211A-ACC1-2120-B259-87872985B686}"/>
                </a:ext>
              </a:extLst>
            </p:cNvPr>
            <p:cNvCxnSpPr>
              <a:cxnSpLocks/>
            </p:cNvCxnSpPr>
            <p:nvPr/>
          </p:nvCxnSpPr>
          <p:spPr>
            <a:xfrm>
              <a:off x="1456190" y="3893799"/>
              <a:ext cx="0" cy="323328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4" name="TextBox 20">
              <a:extLst>
                <a:ext uri="{FF2B5EF4-FFF2-40B4-BE49-F238E27FC236}">
                  <a16:creationId xmlns:a16="http://schemas.microsoft.com/office/drawing/2014/main" id="{DC2B2FB6-26AC-FB5D-B402-5A5D75406BD2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Tashkent-Samarkand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Line</a:t>
              </a:r>
            </a:p>
          </p:txBody>
        </p:sp>
        <p:sp>
          <p:nvSpPr>
            <p:cNvPr id="75" name="TextBox 20">
              <a:extLst>
                <a:ext uri="{FF2B5EF4-FFF2-40B4-BE49-F238E27FC236}">
                  <a16:creationId xmlns:a16="http://schemas.microsoft.com/office/drawing/2014/main" id="{FD984C15-85C5-AD2C-4139-090A641DA91E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Uzbekistan</a:t>
              </a:r>
            </a:p>
          </p:txBody>
        </p:sp>
      </p:grpSp>
      <p:grpSp>
        <p:nvGrpSpPr>
          <p:cNvPr id="76" name="Grupo 75">
            <a:extLst>
              <a:ext uri="{FF2B5EF4-FFF2-40B4-BE49-F238E27FC236}">
                <a16:creationId xmlns:a16="http://schemas.microsoft.com/office/drawing/2014/main" id="{C80DEDA8-B40F-F8EE-8838-084BC5D4DE41}"/>
              </a:ext>
            </a:extLst>
          </p:cNvPr>
          <p:cNvGrpSpPr/>
          <p:nvPr/>
        </p:nvGrpSpPr>
        <p:grpSpPr>
          <a:xfrm>
            <a:off x="14365562" y="6755717"/>
            <a:ext cx="2664155" cy="1069813"/>
            <a:chOff x="124113" y="2041209"/>
            <a:chExt cx="2664155" cy="1069813"/>
          </a:xfrm>
        </p:grpSpPr>
        <p:sp>
          <p:nvSpPr>
            <p:cNvPr id="77" name="TextBox 20">
              <a:extLst>
                <a:ext uri="{FF2B5EF4-FFF2-40B4-BE49-F238E27FC236}">
                  <a16:creationId xmlns:a16="http://schemas.microsoft.com/office/drawing/2014/main" id="{834A614E-4CA5-5F8E-CA99-99A9094CF3B9}"/>
                </a:ext>
              </a:extLst>
            </p:cNvPr>
            <p:cNvSpPr txBox="1"/>
            <p:nvPr/>
          </p:nvSpPr>
          <p:spPr>
            <a:xfrm>
              <a:off x="124113" y="2041209"/>
              <a:ext cx="2664155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Houston-Dallas </a:t>
              </a:r>
            </a:p>
            <a:p>
              <a:pPr algn="ctr"/>
              <a:r>
                <a:rPr lang="en-US" sz="1600" b="1" noProof="1">
                  <a:solidFill>
                    <a:schemeClr val="accent1">
                      <a:lumMod val="75000"/>
                    </a:schemeClr>
                  </a:solidFill>
                </a:rPr>
                <a:t>Connection</a:t>
              </a:r>
            </a:p>
          </p:txBody>
        </p:sp>
        <p:sp>
          <p:nvSpPr>
            <p:cNvPr id="78" name="TextBox 20">
              <a:extLst>
                <a:ext uri="{FF2B5EF4-FFF2-40B4-BE49-F238E27FC236}">
                  <a16:creationId xmlns:a16="http://schemas.microsoft.com/office/drawing/2014/main" id="{4D4F3036-E4D3-A736-A519-384927DF0566}"/>
                </a:ext>
              </a:extLst>
            </p:cNvPr>
            <p:cNvSpPr txBox="1"/>
            <p:nvPr/>
          </p:nvSpPr>
          <p:spPr>
            <a:xfrm>
              <a:off x="124113" y="2803245"/>
              <a:ext cx="2664155" cy="30777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i="1" noProof="1">
                  <a:solidFill>
                    <a:schemeClr val="tx1"/>
                  </a:solidFill>
                </a:rPr>
                <a:t>United States</a:t>
              </a:r>
            </a:p>
          </p:txBody>
        </p:sp>
      </p:grpSp>
      <p:sp>
        <p:nvSpPr>
          <p:cNvPr id="79" name="Elipse 78">
            <a:extLst>
              <a:ext uri="{FF2B5EF4-FFF2-40B4-BE49-F238E27FC236}">
                <a16:creationId xmlns:a16="http://schemas.microsoft.com/office/drawing/2014/main" id="{C655F4F3-DC2B-2A9E-911A-955B2C6EDD2C}"/>
              </a:ext>
            </a:extLst>
          </p:cNvPr>
          <p:cNvSpPr/>
          <p:nvPr/>
        </p:nvSpPr>
        <p:spPr>
          <a:xfrm>
            <a:off x="15553639" y="5842469"/>
            <a:ext cx="288000" cy="288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cxnSp>
        <p:nvCxnSpPr>
          <p:cNvPr id="80" name="Conector recto 79">
            <a:extLst>
              <a:ext uri="{FF2B5EF4-FFF2-40B4-BE49-F238E27FC236}">
                <a16:creationId xmlns:a16="http://schemas.microsoft.com/office/drawing/2014/main" id="{7ECB7FE9-1C23-813E-1D2B-F5E043CBFF60}"/>
              </a:ext>
            </a:extLst>
          </p:cNvPr>
          <p:cNvCxnSpPr>
            <a:cxnSpLocks/>
            <a:stCxn id="79" idx="4"/>
          </p:cNvCxnSpPr>
          <p:nvPr/>
        </p:nvCxnSpPr>
        <p:spPr>
          <a:xfrm>
            <a:off x="15697639" y="6130469"/>
            <a:ext cx="0" cy="324000"/>
          </a:xfrm>
          <a:prstGeom prst="line">
            <a:avLst/>
          </a:prstGeom>
          <a:noFill/>
          <a:ln w="25400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1" name="Picture 2" descr="http://www.banderas-mundo.es/data/flags/ultra/no.png">
            <a:extLst>
              <a:ext uri="{FF2B5EF4-FFF2-40B4-BE49-F238E27FC236}">
                <a16:creationId xmlns:a16="http://schemas.microsoft.com/office/drawing/2014/main" id="{1ADAD0A2-74A0-6096-D067-37A06627A48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140477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2" name="Picture 2" descr="http://www.banderas-mundo.es/data/flags/ultra/no.png">
            <a:extLst>
              <a:ext uri="{FF2B5EF4-FFF2-40B4-BE49-F238E27FC236}">
                <a16:creationId xmlns:a16="http://schemas.microsoft.com/office/drawing/2014/main" id="{0344F54A-BF45-2F8F-8F64-B3C8645434E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990323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3" name="Picture 15" descr="http://www.zumosready.com/imagenes/bandera_uk.jpg.png">
            <a:extLst>
              <a:ext uri="{FF2B5EF4-FFF2-40B4-BE49-F238E27FC236}">
                <a16:creationId xmlns:a16="http://schemas.microsoft.com/office/drawing/2014/main" id="{D3C04A8B-4E14-6101-4E57-CA88A1364E09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830068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4" name="Picture 4" descr="http://www.banderas-mundo.es/data/flags/ultra/it.png">
            <a:extLst>
              <a:ext uri="{FF2B5EF4-FFF2-40B4-BE49-F238E27FC236}">
                <a16:creationId xmlns:a16="http://schemas.microsoft.com/office/drawing/2014/main" id="{79784808-4480-F394-08BA-D471DBD1F0F1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692223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5" name="Picture 16" descr="548 Uzbekistan Flag Illustrations &amp; Clip Art - iStock">
            <a:extLst>
              <a:ext uri="{FF2B5EF4-FFF2-40B4-BE49-F238E27FC236}">
                <a16:creationId xmlns:a16="http://schemas.microsoft.com/office/drawing/2014/main" id="{F5E2FCB8-4662-51DF-B711-05BBEB9F836D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3607" y="3846892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4" descr="16,591 Turkish Flag Stock Photos, Pictures &amp; Royalty-Free Images - iStock">
            <a:extLst>
              <a:ext uri="{FF2B5EF4-FFF2-40B4-BE49-F238E27FC236}">
                <a16:creationId xmlns:a16="http://schemas.microsoft.com/office/drawing/2014/main" id="{40AAAFED-537B-F8FD-A08C-FC9D8C9DDE3E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"/>
          <a:stretch/>
        </p:blipFill>
        <p:spPr bwMode="auto">
          <a:xfrm>
            <a:off x="1287201" y="8084547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4" descr="16,591 Turkish Flag Stock Photos, Pictures &amp; Royalty-Free Images - iStock">
            <a:extLst>
              <a:ext uri="{FF2B5EF4-FFF2-40B4-BE49-F238E27FC236}">
                <a16:creationId xmlns:a16="http://schemas.microsoft.com/office/drawing/2014/main" id="{F154C004-B13F-09A6-935E-432D8B9BE8C8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"/>
          <a:stretch/>
        </p:blipFill>
        <p:spPr bwMode="auto">
          <a:xfrm>
            <a:off x="4135491" y="8084547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2">
            <a:extLst>
              <a:ext uri="{FF2B5EF4-FFF2-40B4-BE49-F238E27FC236}">
                <a16:creationId xmlns:a16="http://schemas.microsoft.com/office/drawing/2014/main" id="{A30A9B54-D25C-DF9C-9DE2-4129495C39D0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440" y="8084547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http://www.banderas.pro/banderas/bandera-india-4.jpg">
            <a:extLst>
              <a:ext uri="{FF2B5EF4-FFF2-40B4-BE49-F238E27FC236}">
                <a16:creationId xmlns:a16="http://schemas.microsoft.com/office/drawing/2014/main" id="{03E4739B-9C7A-6F10-5ADB-8B1CF10B796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850543" y="8084547"/>
            <a:ext cx="337979" cy="20954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90" name="Picture 8" descr="http://www.google.es/images?q=tbn:d1j4Tpvr_jjrxM::www.33ff.com/flags/XL_flags_embossed/United-States_flag.gif&amp;h=78&amp;w=117&amp;usg=__sNrQJhN667sSWfUm8wTPqvOEtZo=">
            <a:hlinkClick r:id="rId18"/>
            <a:extLst>
              <a:ext uri="{FF2B5EF4-FFF2-40B4-BE49-F238E27FC236}">
                <a16:creationId xmlns:a16="http://schemas.microsoft.com/office/drawing/2014/main" id="{E0FA22B4-D082-9F7C-7955-72B4E98E130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2680360" y="8084549"/>
            <a:ext cx="337979" cy="20954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91" name="Picture 8" descr="http://www.google.es/images?q=tbn:d1j4Tpvr_jjrxM::www.33ff.com/flags/XL_flags_embossed/United-States_flag.gif&amp;h=78&amp;w=117&amp;usg=__sNrQJhN667sSWfUm8wTPqvOEtZo=">
            <a:hlinkClick r:id="rId18"/>
            <a:extLst>
              <a:ext uri="{FF2B5EF4-FFF2-40B4-BE49-F238E27FC236}">
                <a16:creationId xmlns:a16="http://schemas.microsoft.com/office/drawing/2014/main" id="{A2332464-7B87-1DE7-6680-F1A8CC1C94AB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5554092" y="8084549"/>
            <a:ext cx="337979" cy="20954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9427166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4AE3A6-FFFB-CF10-737B-3255D4D175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207A492E-53E7-09E2-6BDC-D95E128E1AA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980231" y="1036497"/>
            <a:ext cx="517439" cy="504000"/>
          </a:xfrm>
          <a:prstGeom prst="rect">
            <a:avLst/>
          </a:prstGeom>
        </p:spPr>
      </p:pic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E972BE8-5E21-AA85-0F7C-216B04F350BA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5800919-3F48-8BC3-7096-D92BB3DB2B0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dirty="0">
                <a:latin typeface="Arial"/>
                <a:cs typeface="Arial"/>
              </a:rPr>
              <a:t>Urban transport: did you know?</a:t>
            </a:r>
          </a:p>
        </p:txBody>
      </p:sp>
      <p:sp>
        <p:nvSpPr>
          <p:cNvPr id="5" name="Circle">
            <a:extLst>
              <a:ext uri="{FF2B5EF4-FFF2-40B4-BE49-F238E27FC236}">
                <a16:creationId xmlns:a16="http://schemas.microsoft.com/office/drawing/2014/main" id="{39FDD56E-42C6-6A7A-DE25-56B8B3D80306}"/>
              </a:ext>
            </a:extLst>
          </p:cNvPr>
          <p:cNvSpPr/>
          <p:nvPr/>
        </p:nvSpPr>
        <p:spPr>
          <a:xfrm>
            <a:off x="15846494" y="910085"/>
            <a:ext cx="792000" cy="792000"/>
          </a:xfrm>
          <a:prstGeom prst="ellipse">
            <a:avLst/>
          </a:prstGeom>
          <a:noFill/>
          <a:ln w="12700">
            <a:solidFill>
              <a:schemeClr val="accent2"/>
            </a:solidFill>
            <a:miter lim="400000"/>
          </a:ln>
        </p:spPr>
        <p:txBody>
          <a:bodyPr lIns="54185" tIns="54185" rIns="54185" bIns="5418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endParaRPr sz="4267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/>
            </a:endParaRPr>
          </a:p>
        </p:txBody>
      </p:sp>
      <p:sp>
        <p:nvSpPr>
          <p:cNvPr id="7" name="TextBox 51">
            <a:extLst>
              <a:ext uri="{FF2B5EF4-FFF2-40B4-BE49-F238E27FC236}">
                <a16:creationId xmlns:a16="http://schemas.microsoft.com/office/drawing/2014/main" id="{CF248FE4-86B3-05F8-0120-A79848544D1A}"/>
              </a:ext>
            </a:extLst>
          </p:cNvPr>
          <p:cNvSpPr txBox="1"/>
          <p:nvPr/>
        </p:nvSpPr>
        <p:spPr>
          <a:xfrm>
            <a:off x="13646924" y="1121419"/>
            <a:ext cx="2156864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noProof="1"/>
              <a:t>Urban transport</a:t>
            </a:r>
          </a:p>
        </p:txBody>
      </p:sp>
      <p:grpSp>
        <p:nvGrpSpPr>
          <p:cNvPr id="123" name="Grupo 122">
            <a:extLst>
              <a:ext uri="{FF2B5EF4-FFF2-40B4-BE49-F238E27FC236}">
                <a16:creationId xmlns:a16="http://schemas.microsoft.com/office/drawing/2014/main" id="{38D2EFC6-1ADA-CF07-D688-F78535266160}"/>
              </a:ext>
            </a:extLst>
          </p:cNvPr>
          <p:cNvGrpSpPr/>
          <p:nvPr/>
        </p:nvGrpSpPr>
        <p:grpSpPr>
          <a:xfrm>
            <a:off x="1042417" y="3513012"/>
            <a:ext cx="16852056" cy="868178"/>
            <a:chOff x="4495978" y="5056526"/>
            <a:chExt cx="8350610" cy="588319"/>
          </a:xfrm>
        </p:grpSpPr>
        <p:sp>
          <p:nvSpPr>
            <p:cNvPr id="124" name="Trapecio 123">
              <a:extLst>
                <a:ext uri="{FF2B5EF4-FFF2-40B4-BE49-F238E27FC236}">
                  <a16:creationId xmlns:a16="http://schemas.microsoft.com/office/drawing/2014/main" id="{A7C0DCEC-FF1A-F277-7444-F28987BB7756}"/>
                </a:ext>
              </a:extLst>
            </p:cNvPr>
            <p:cNvSpPr/>
            <p:nvPr/>
          </p:nvSpPr>
          <p:spPr>
            <a:xfrm flipV="1">
              <a:off x="4495978" y="5056526"/>
              <a:ext cx="8350610" cy="588319"/>
            </a:xfrm>
            <a:prstGeom prst="trapezoid">
              <a:avLst>
                <a:gd name="adj" fmla="val 32129"/>
              </a:avLst>
            </a:prstGeom>
            <a:solidFill>
              <a:srgbClr val="BFC9C9"/>
            </a:solidFill>
            <a:ln w="127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84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9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 panose="020B0303030504020204" pitchFamily="34" charset="0"/>
                <a:ea typeface="+mn-ea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25" name="30 CuadroTexto">
              <a:extLst>
                <a:ext uri="{FF2B5EF4-FFF2-40B4-BE49-F238E27FC236}">
                  <a16:creationId xmlns:a16="http://schemas.microsoft.com/office/drawing/2014/main" id="{3E3EDE6B-4543-AED8-E13F-E7AC5679AD36}"/>
                </a:ext>
              </a:extLst>
            </p:cNvPr>
            <p:cNvSpPr txBox="1"/>
            <p:nvPr/>
          </p:nvSpPr>
          <p:spPr bwMode="auto">
            <a:xfrm>
              <a:off x="4951221" y="5227575"/>
              <a:ext cx="6921489" cy="237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>
                <a:spcBef>
                  <a:spcPts val="400"/>
                </a:spcBef>
                <a:spcAft>
                  <a:spcPts val="600"/>
                </a:spcAft>
                <a:defRPr sz="1400" b="0">
                  <a:latin typeface="+mj-lt"/>
                </a:defRPr>
              </a:lvl1pPr>
            </a:lstStyle>
            <a:p>
              <a:pPr marL="1530749" marR="0" lvl="0" indent="0" defTabSz="584200" eaLnBrk="1" fontAlgn="base" latinLnBrk="0" hangingPunct="1">
                <a:lnSpc>
                  <a:spcPct val="100000"/>
                </a:lnSpc>
                <a:spcBef>
                  <a:spcPts val="85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76" b="0" i="0" u="none" strike="noStrike" kern="0" cap="none" spc="0" normalizeH="0" baseline="0" noProof="0" dirty="0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panose="020B0604020202020204"/>
                  <a:cs typeface="Arial" charset="0"/>
                  <a:sym typeface="Helvetica Light"/>
                </a:rPr>
                <a:t>Spanish solutions such as tram-trains are increasingly demanded by cities around the world</a:t>
              </a:r>
            </a:p>
          </p:txBody>
        </p:sp>
      </p:grpSp>
      <p:grpSp>
        <p:nvGrpSpPr>
          <p:cNvPr id="126" name="Grupo 125">
            <a:extLst>
              <a:ext uri="{FF2B5EF4-FFF2-40B4-BE49-F238E27FC236}">
                <a16:creationId xmlns:a16="http://schemas.microsoft.com/office/drawing/2014/main" id="{A367DDA6-27BC-EE50-E342-803C63F41D3A}"/>
              </a:ext>
            </a:extLst>
          </p:cNvPr>
          <p:cNvGrpSpPr/>
          <p:nvPr/>
        </p:nvGrpSpPr>
        <p:grpSpPr>
          <a:xfrm>
            <a:off x="-562113" y="2449351"/>
            <a:ext cx="17039601" cy="868178"/>
            <a:chOff x="-1174492" y="4255568"/>
            <a:chExt cx="8350610" cy="588319"/>
          </a:xfrm>
        </p:grpSpPr>
        <p:sp>
          <p:nvSpPr>
            <p:cNvPr id="127" name="Trapecio 126">
              <a:extLst>
                <a:ext uri="{FF2B5EF4-FFF2-40B4-BE49-F238E27FC236}">
                  <a16:creationId xmlns:a16="http://schemas.microsoft.com/office/drawing/2014/main" id="{63A1F08F-650E-A647-7549-9AC6D8E37FFA}"/>
                </a:ext>
              </a:extLst>
            </p:cNvPr>
            <p:cNvSpPr/>
            <p:nvPr/>
          </p:nvSpPr>
          <p:spPr>
            <a:xfrm flipV="1">
              <a:off x="-1174492" y="4255568"/>
              <a:ext cx="8350610" cy="588319"/>
            </a:xfrm>
            <a:prstGeom prst="trapezoid">
              <a:avLst>
                <a:gd name="adj" fmla="val 32129"/>
              </a:avLst>
            </a:prstGeom>
            <a:solidFill>
              <a:srgbClr val="BFC9C9"/>
            </a:solidFill>
            <a:ln w="127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84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9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 panose="020B0303030504020204" pitchFamily="34" charset="0"/>
                <a:ea typeface="+mn-ea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28" name="38 CuadroTexto">
              <a:extLst>
                <a:ext uri="{FF2B5EF4-FFF2-40B4-BE49-F238E27FC236}">
                  <a16:creationId xmlns:a16="http://schemas.microsoft.com/office/drawing/2014/main" id="{216D6E9D-22B4-B0D5-B531-76B90F126E92}"/>
                </a:ext>
              </a:extLst>
            </p:cNvPr>
            <p:cNvSpPr txBox="1"/>
            <p:nvPr/>
          </p:nvSpPr>
          <p:spPr bwMode="auto">
            <a:xfrm>
              <a:off x="-80102" y="4426617"/>
              <a:ext cx="6987848" cy="2927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>
                <a:spcBef>
                  <a:spcPts val="400"/>
                </a:spcBef>
                <a:spcAft>
                  <a:spcPts val="600"/>
                </a:spcAft>
                <a:defRPr sz="1400" b="0">
                  <a:latin typeface="+mj-lt"/>
                </a:defRPr>
              </a:lvl1pPr>
            </a:lstStyle>
            <a:p>
              <a:pPr marL="0" marR="0" lvl="0" indent="0" defTabSz="584200" eaLnBrk="1" fontAlgn="base" latinLnBrk="0" hangingPunct="1">
                <a:lnSpc>
                  <a:spcPct val="100000"/>
                </a:lnSpc>
                <a:spcBef>
                  <a:spcPts val="85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76" b="0" i="0" u="none" strike="noStrike" kern="0" cap="none" spc="0" normalizeH="0" baseline="0" noProof="0" dirty="0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panose="020B0604020202020204"/>
                  <a:cs typeface="Arial" charset="0"/>
                  <a:sym typeface="Helvetica Light"/>
                </a:rPr>
                <a:t>35% of South America’s metro networks and more than 25% of European ones have Spanish technology</a:t>
              </a:r>
              <a:endParaRPr kumimoji="0" lang="en-US" sz="2276" b="1" i="0" u="none" strike="noStrike" kern="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cs typeface="Arial" charset="0"/>
                <a:sym typeface="Helvetica Light"/>
              </a:endParaRPr>
            </a:p>
          </p:txBody>
        </p:sp>
      </p:grpSp>
      <p:grpSp>
        <p:nvGrpSpPr>
          <p:cNvPr id="129" name="Grupo 128">
            <a:extLst>
              <a:ext uri="{FF2B5EF4-FFF2-40B4-BE49-F238E27FC236}">
                <a16:creationId xmlns:a16="http://schemas.microsoft.com/office/drawing/2014/main" id="{0FBB4B5C-DD40-B19A-729B-AB460CFB1D5F}"/>
              </a:ext>
            </a:extLst>
          </p:cNvPr>
          <p:cNvGrpSpPr/>
          <p:nvPr/>
        </p:nvGrpSpPr>
        <p:grpSpPr>
          <a:xfrm>
            <a:off x="1042417" y="5640334"/>
            <a:ext cx="16852056" cy="868178"/>
            <a:chOff x="4495978" y="5056526"/>
            <a:chExt cx="8350610" cy="588319"/>
          </a:xfrm>
        </p:grpSpPr>
        <p:sp>
          <p:nvSpPr>
            <p:cNvPr id="130" name="Trapecio 129">
              <a:extLst>
                <a:ext uri="{FF2B5EF4-FFF2-40B4-BE49-F238E27FC236}">
                  <a16:creationId xmlns:a16="http://schemas.microsoft.com/office/drawing/2014/main" id="{CE5C63B1-BF0B-59AD-F748-5DB50850EAE4}"/>
                </a:ext>
              </a:extLst>
            </p:cNvPr>
            <p:cNvSpPr/>
            <p:nvPr/>
          </p:nvSpPr>
          <p:spPr>
            <a:xfrm flipV="1">
              <a:off x="4495978" y="5056526"/>
              <a:ext cx="8350610" cy="588319"/>
            </a:xfrm>
            <a:prstGeom prst="trapezoid">
              <a:avLst>
                <a:gd name="adj" fmla="val 32129"/>
              </a:avLst>
            </a:prstGeom>
            <a:solidFill>
              <a:srgbClr val="BFC9C9"/>
            </a:solidFill>
            <a:ln w="127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84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9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 panose="020B0303030504020204" pitchFamily="34" charset="0"/>
                <a:ea typeface="+mn-ea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31" name="30 CuadroTexto">
              <a:extLst>
                <a:ext uri="{FF2B5EF4-FFF2-40B4-BE49-F238E27FC236}">
                  <a16:creationId xmlns:a16="http://schemas.microsoft.com/office/drawing/2014/main" id="{6B164A66-98B1-4A98-7DE9-81B5BF0E5AB4}"/>
                </a:ext>
              </a:extLst>
            </p:cNvPr>
            <p:cNvSpPr txBox="1"/>
            <p:nvPr/>
          </p:nvSpPr>
          <p:spPr bwMode="auto">
            <a:xfrm>
              <a:off x="4951221" y="5227575"/>
              <a:ext cx="6921489" cy="237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>
                <a:spcBef>
                  <a:spcPts val="400"/>
                </a:spcBef>
                <a:spcAft>
                  <a:spcPts val="600"/>
                </a:spcAft>
                <a:defRPr sz="1400" b="0">
                  <a:latin typeface="+mj-lt"/>
                </a:defRPr>
              </a:lvl1pPr>
            </a:lstStyle>
            <a:p>
              <a:pPr marL="1530749" marR="0" lvl="0" indent="0" defTabSz="584200" eaLnBrk="1" fontAlgn="base" latinLnBrk="0" hangingPunct="1">
                <a:lnSpc>
                  <a:spcPct val="100000"/>
                </a:lnSpc>
                <a:spcBef>
                  <a:spcPts val="85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76" b="0" i="0" u="none" strike="noStrike" kern="0" cap="none" spc="0" normalizeH="0" baseline="0" noProof="0" dirty="0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panose="020B0604020202020204"/>
                  <a:cs typeface="Arial" charset="0"/>
                  <a:sym typeface="Helvetica Light"/>
                </a:rPr>
                <a:t>Spanish companies have implemented the most advanced smart operational control centers</a:t>
              </a:r>
            </a:p>
          </p:txBody>
        </p:sp>
      </p:grpSp>
      <p:grpSp>
        <p:nvGrpSpPr>
          <p:cNvPr id="132" name="Grupo 131">
            <a:extLst>
              <a:ext uri="{FF2B5EF4-FFF2-40B4-BE49-F238E27FC236}">
                <a16:creationId xmlns:a16="http://schemas.microsoft.com/office/drawing/2014/main" id="{053EC7E6-C0EE-F80A-32AD-510E18D5B309}"/>
              </a:ext>
            </a:extLst>
          </p:cNvPr>
          <p:cNvGrpSpPr/>
          <p:nvPr/>
        </p:nvGrpSpPr>
        <p:grpSpPr>
          <a:xfrm>
            <a:off x="-562113" y="4576673"/>
            <a:ext cx="17039601" cy="868178"/>
            <a:chOff x="-1174492" y="4255568"/>
            <a:chExt cx="8350610" cy="588319"/>
          </a:xfrm>
        </p:grpSpPr>
        <p:sp>
          <p:nvSpPr>
            <p:cNvPr id="133" name="Trapecio 132">
              <a:extLst>
                <a:ext uri="{FF2B5EF4-FFF2-40B4-BE49-F238E27FC236}">
                  <a16:creationId xmlns:a16="http://schemas.microsoft.com/office/drawing/2014/main" id="{FCFE4746-044E-F7E4-FC98-17D922BA6C63}"/>
                </a:ext>
              </a:extLst>
            </p:cNvPr>
            <p:cNvSpPr/>
            <p:nvPr/>
          </p:nvSpPr>
          <p:spPr>
            <a:xfrm flipV="1">
              <a:off x="-1174492" y="4255568"/>
              <a:ext cx="8350610" cy="588319"/>
            </a:xfrm>
            <a:prstGeom prst="trapezoid">
              <a:avLst>
                <a:gd name="adj" fmla="val 32129"/>
              </a:avLst>
            </a:prstGeom>
            <a:solidFill>
              <a:srgbClr val="BFC9C9"/>
            </a:solidFill>
            <a:ln w="127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84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9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 panose="020B0303030504020204" pitchFamily="34" charset="0"/>
                <a:ea typeface="+mn-ea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34" name="38 CuadroTexto">
              <a:extLst>
                <a:ext uri="{FF2B5EF4-FFF2-40B4-BE49-F238E27FC236}">
                  <a16:creationId xmlns:a16="http://schemas.microsoft.com/office/drawing/2014/main" id="{93F0AC18-6EA1-9EA3-5563-FBA5D12BEECD}"/>
                </a:ext>
              </a:extLst>
            </p:cNvPr>
            <p:cNvSpPr txBox="1"/>
            <p:nvPr/>
          </p:nvSpPr>
          <p:spPr bwMode="auto">
            <a:xfrm>
              <a:off x="-80102" y="4426617"/>
              <a:ext cx="6987848" cy="2927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>
                <a:spcBef>
                  <a:spcPts val="400"/>
                </a:spcBef>
                <a:spcAft>
                  <a:spcPts val="600"/>
                </a:spcAft>
                <a:defRPr sz="1400" b="0">
                  <a:latin typeface="+mj-lt"/>
                </a:defRPr>
              </a:lvl1pPr>
            </a:lstStyle>
            <a:p>
              <a:pPr marL="0" marR="0" lvl="0" indent="0" defTabSz="584200" eaLnBrk="1" fontAlgn="base" latinLnBrk="0" hangingPunct="1">
                <a:lnSpc>
                  <a:spcPct val="100000"/>
                </a:lnSpc>
                <a:spcBef>
                  <a:spcPts val="85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76" b="0" i="0" u="none" strike="noStrike" kern="0" cap="none" spc="0" normalizeH="0" baseline="0" noProof="0" dirty="0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panose="020B0604020202020204"/>
                  <a:cs typeface="Arial" charset="0"/>
                  <a:sym typeface="Helvetica Light"/>
                </a:rPr>
                <a:t>The Spanish industry ranks at the top as advisor and developer of metro and tramway systems</a:t>
              </a:r>
              <a:endParaRPr kumimoji="0" lang="en-US" sz="2276" b="1" i="0" u="none" strike="noStrike" kern="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cs typeface="Arial" charset="0"/>
                <a:sym typeface="Helvetica Light"/>
              </a:endParaRPr>
            </a:p>
          </p:txBody>
        </p:sp>
      </p:grpSp>
      <p:grpSp>
        <p:nvGrpSpPr>
          <p:cNvPr id="135" name="Grupo 134">
            <a:extLst>
              <a:ext uri="{FF2B5EF4-FFF2-40B4-BE49-F238E27FC236}">
                <a16:creationId xmlns:a16="http://schemas.microsoft.com/office/drawing/2014/main" id="{BDAA82A1-AFC9-E480-B308-544B3784BB2F}"/>
              </a:ext>
            </a:extLst>
          </p:cNvPr>
          <p:cNvGrpSpPr/>
          <p:nvPr/>
        </p:nvGrpSpPr>
        <p:grpSpPr>
          <a:xfrm>
            <a:off x="-562113" y="6703995"/>
            <a:ext cx="17039601" cy="868178"/>
            <a:chOff x="-1174492" y="4255568"/>
            <a:chExt cx="8350610" cy="588319"/>
          </a:xfrm>
        </p:grpSpPr>
        <p:sp>
          <p:nvSpPr>
            <p:cNvPr id="136" name="Trapecio 135">
              <a:extLst>
                <a:ext uri="{FF2B5EF4-FFF2-40B4-BE49-F238E27FC236}">
                  <a16:creationId xmlns:a16="http://schemas.microsoft.com/office/drawing/2014/main" id="{3CA1EF93-C126-8F07-1B22-DDEC9B5323E9}"/>
                </a:ext>
              </a:extLst>
            </p:cNvPr>
            <p:cNvSpPr/>
            <p:nvPr/>
          </p:nvSpPr>
          <p:spPr>
            <a:xfrm flipV="1">
              <a:off x="-1174492" y="4255568"/>
              <a:ext cx="8350610" cy="588319"/>
            </a:xfrm>
            <a:prstGeom prst="trapezoid">
              <a:avLst>
                <a:gd name="adj" fmla="val 32129"/>
              </a:avLst>
            </a:prstGeom>
            <a:solidFill>
              <a:srgbClr val="BFC9C9"/>
            </a:solidFill>
            <a:ln w="127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84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9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 panose="020B0303030504020204" pitchFamily="34" charset="0"/>
                <a:ea typeface="+mn-ea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37" name="38 CuadroTexto">
              <a:extLst>
                <a:ext uri="{FF2B5EF4-FFF2-40B4-BE49-F238E27FC236}">
                  <a16:creationId xmlns:a16="http://schemas.microsoft.com/office/drawing/2014/main" id="{A29CDBBD-A38C-829B-49BF-F2DAA2515055}"/>
                </a:ext>
              </a:extLst>
            </p:cNvPr>
            <p:cNvSpPr txBox="1"/>
            <p:nvPr/>
          </p:nvSpPr>
          <p:spPr bwMode="auto">
            <a:xfrm>
              <a:off x="-80102" y="4426617"/>
              <a:ext cx="6987848" cy="2927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>
                <a:spcBef>
                  <a:spcPts val="400"/>
                </a:spcBef>
                <a:spcAft>
                  <a:spcPts val="600"/>
                </a:spcAft>
                <a:defRPr sz="1400" b="0">
                  <a:latin typeface="+mj-lt"/>
                </a:defRPr>
              </a:lvl1pPr>
            </a:lstStyle>
            <a:p>
              <a:pPr marL="0" marR="0" lvl="0" indent="0" defTabSz="584200" eaLnBrk="1" fontAlgn="base" latinLnBrk="0" hangingPunct="1">
                <a:lnSpc>
                  <a:spcPct val="100000"/>
                </a:lnSpc>
                <a:spcBef>
                  <a:spcPts val="85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76" b="0" i="0" u="none" strike="noStrike" kern="0" cap="none" spc="0" normalizeH="0" baseline="0" noProof="0" dirty="0">
                  <a:ln>
                    <a:noFill/>
                  </a:ln>
                  <a:solidFill>
                    <a:srgbClr val="191C1F"/>
                  </a:solidFill>
                  <a:effectLst/>
                  <a:uLnTx/>
                  <a:uFillTx/>
                  <a:latin typeface="Arial" panose="020B0604020202020204"/>
                  <a:cs typeface="Arial" charset="0"/>
                  <a:sym typeface="Helvetica Light"/>
                </a:rPr>
                <a:t>Spanish companies have created pioneering systems and technologies to manage stations of the future</a:t>
              </a:r>
              <a:endParaRPr kumimoji="0" lang="en-US" sz="2276" b="1" i="0" u="none" strike="noStrike" kern="0" cap="none" spc="0" normalizeH="0" baseline="0" noProof="0" dirty="0">
                <a:ln>
                  <a:noFill/>
                </a:ln>
                <a:solidFill>
                  <a:srgbClr val="191C1F"/>
                </a:solidFill>
                <a:effectLst/>
                <a:uLnTx/>
                <a:uFillTx/>
                <a:latin typeface="Arial" panose="020B0604020202020204"/>
                <a:cs typeface="Arial" charset="0"/>
                <a:sym typeface="Helvetica Light"/>
              </a:endParaRPr>
            </a:p>
          </p:txBody>
        </p:sp>
      </p:grpSp>
      <p:sp>
        <p:nvSpPr>
          <p:cNvPr id="138" name="30 CuadroTexto">
            <a:extLst>
              <a:ext uri="{FF2B5EF4-FFF2-40B4-BE49-F238E27FC236}">
                <a16:creationId xmlns:a16="http://schemas.microsoft.com/office/drawing/2014/main" id="{DF9DAC95-3030-C1B8-EC41-2DF078FB0544}"/>
              </a:ext>
            </a:extLst>
          </p:cNvPr>
          <p:cNvSpPr txBox="1"/>
          <p:nvPr/>
        </p:nvSpPr>
        <p:spPr bwMode="auto">
          <a:xfrm>
            <a:off x="521208" y="8068992"/>
            <a:ext cx="1629784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s-ES"/>
            </a:defPPr>
            <a:lvl1pPr>
              <a:spcBef>
                <a:spcPts val="400"/>
              </a:spcBef>
              <a:spcAft>
                <a:spcPts val="600"/>
              </a:spcAft>
              <a:defRPr sz="1400" b="0">
                <a:latin typeface="+mj-lt"/>
              </a:defRPr>
            </a:lvl1pPr>
          </a:lstStyle>
          <a:p>
            <a:pPr algn="ctr" defTabSz="584200" fontAlgn="base">
              <a:spcBef>
                <a:spcPts val="853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BF00BF"/>
                </a:solidFill>
                <a:cs typeface="Arial" charset="0"/>
                <a:sym typeface="Helvetica Light"/>
              </a:rPr>
              <a:t>A unique value proposal with comprehensive urban transport solutions on the five continents</a:t>
            </a:r>
          </a:p>
        </p:txBody>
      </p:sp>
    </p:spTree>
    <p:extLst>
      <p:ext uri="{BB962C8B-B14F-4D97-AF65-F5344CB8AC3E}">
        <p14:creationId xmlns:p14="http://schemas.microsoft.com/office/powerpoint/2010/main" val="2937987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78593-EB8C-7139-D17D-C2BDD40BE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174130-5089-7D36-6A1B-A2F3537A089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400" dirty="0"/>
              <a:t>MAFEX - Spanish Rail Industry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3006142-9336-D534-590C-4657BD578D50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dirty="0">
                <a:latin typeface="Arial"/>
                <a:cs typeface="Arial"/>
              </a:rPr>
              <a:t>Some of the Spanish solutions to the new challenges</a:t>
            </a:r>
          </a:p>
        </p:txBody>
      </p:sp>
      <p:grpSp>
        <p:nvGrpSpPr>
          <p:cNvPr id="96" name="Group 3">
            <a:extLst>
              <a:ext uri="{FF2B5EF4-FFF2-40B4-BE49-F238E27FC236}">
                <a16:creationId xmlns:a16="http://schemas.microsoft.com/office/drawing/2014/main" id="{D63829CC-22DB-BF68-15D0-63F19C240826}"/>
              </a:ext>
            </a:extLst>
          </p:cNvPr>
          <p:cNvGrpSpPr/>
          <p:nvPr/>
        </p:nvGrpSpPr>
        <p:grpSpPr>
          <a:xfrm>
            <a:off x="556972" y="2148433"/>
            <a:ext cx="3042262" cy="2681072"/>
            <a:chOff x="1116449" y="2353556"/>
            <a:chExt cx="1307459" cy="2144333"/>
          </a:xfrm>
        </p:grpSpPr>
        <p:sp>
          <p:nvSpPr>
            <p:cNvPr id="97" name="Shape">
              <a:extLst>
                <a:ext uri="{FF2B5EF4-FFF2-40B4-BE49-F238E27FC236}">
                  <a16:creationId xmlns:a16="http://schemas.microsoft.com/office/drawing/2014/main" id="{885633F2-D9C0-9B14-DA65-EE3EE08A984E}"/>
                </a:ext>
              </a:extLst>
            </p:cNvPr>
            <p:cNvSpPr/>
            <p:nvPr/>
          </p:nvSpPr>
          <p:spPr>
            <a:xfrm>
              <a:off x="1116449" y="2353556"/>
              <a:ext cx="1307459" cy="2144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39" extrusionOk="0">
                  <a:moveTo>
                    <a:pt x="21600" y="16703"/>
                  </a:moveTo>
                  <a:lnTo>
                    <a:pt x="4011" y="20812"/>
                  </a:lnTo>
                  <a:cubicBezTo>
                    <a:pt x="2080" y="21269"/>
                    <a:pt x="0" y="20426"/>
                    <a:pt x="0" y="19214"/>
                  </a:cubicBezTo>
                  <a:lnTo>
                    <a:pt x="0" y="1724"/>
                  </a:lnTo>
                  <a:cubicBezTo>
                    <a:pt x="0" y="512"/>
                    <a:pt x="2080" y="-331"/>
                    <a:pt x="4011" y="126"/>
                  </a:cubicBezTo>
                  <a:lnTo>
                    <a:pt x="21600" y="4235"/>
                  </a:lnTo>
                  <a:lnTo>
                    <a:pt x="21600" y="16703"/>
                  </a:lnTo>
                  <a:close/>
                </a:path>
              </a:pathLst>
            </a:custGeom>
            <a:solidFill>
              <a:srgbClr val="FF99FF"/>
            </a:solidFill>
            <a:ln w="12700">
              <a:miter lim="400000"/>
            </a:ln>
          </p:spPr>
          <p:txBody>
            <a:bodyPr lIns="54187" tIns="54187" rIns="54187" bIns="54187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4267"/>
            </a:p>
          </p:txBody>
        </p:sp>
        <p:sp>
          <p:nvSpPr>
            <p:cNvPr id="98" name="Freeform: Shape 28">
              <a:extLst>
                <a:ext uri="{FF2B5EF4-FFF2-40B4-BE49-F238E27FC236}">
                  <a16:creationId xmlns:a16="http://schemas.microsoft.com/office/drawing/2014/main" id="{80BF2BB4-DD9E-54EC-CBC2-6BCA01413A91}"/>
                </a:ext>
              </a:extLst>
            </p:cNvPr>
            <p:cNvSpPr/>
            <p:nvPr/>
          </p:nvSpPr>
          <p:spPr>
            <a:xfrm>
              <a:off x="2217420" y="2705645"/>
              <a:ext cx="206488" cy="1440053"/>
            </a:xfrm>
            <a:custGeom>
              <a:avLst/>
              <a:gdLst>
                <a:gd name="connsiteX0" fmla="*/ 0 w 206488"/>
                <a:gd name="connsiteY0" fmla="*/ 0 h 1440053"/>
                <a:gd name="connsiteX1" fmla="*/ 206488 w 206488"/>
                <a:gd name="connsiteY1" fmla="*/ 81611 h 1440053"/>
                <a:gd name="connsiteX2" fmla="*/ 206488 w 206488"/>
                <a:gd name="connsiteY2" fmla="*/ 1358441 h 1440053"/>
                <a:gd name="connsiteX3" fmla="*/ 0 w 206488"/>
                <a:gd name="connsiteY3" fmla="*/ 1440053 h 144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88" h="1440053">
                  <a:moveTo>
                    <a:pt x="0" y="0"/>
                  </a:moveTo>
                  <a:lnTo>
                    <a:pt x="206488" y="81611"/>
                  </a:lnTo>
                  <a:lnTo>
                    <a:pt x="206488" y="1358441"/>
                  </a:lnTo>
                  <a:lnTo>
                    <a:pt x="0" y="1440053"/>
                  </a:lnTo>
                  <a:close/>
                </a:path>
              </a:pathLst>
            </a:cu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120"/>
            </a:p>
          </p:txBody>
        </p:sp>
      </p:grpSp>
      <p:grpSp>
        <p:nvGrpSpPr>
          <p:cNvPr id="99" name="Group 3">
            <a:extLst>
              <a:ext uri="{FF2B5EF4-FFF2-40B4-BE49-F238E27FC236}">
                <a16:creationId xmlns:a16="http://schemas.microsoft.com/office/drawing/2014/main" id="{5EECBBC4-4B20-616C-3FD2-2BD487B971F0}"/>
              </a:ext>
            </a:extLst>
          </p:cNvPr>
          <p:cNvGrpSpPr/>
          <p:nvPr/>
        </p:nvGrpSpPr>
        <p:grpSpPr>
          <a:xfrm>
            <a:off x="3810836" y="2148433"/>
            <a:ext cx="3042262" cy="2681072"/>
            <a:chOff x="1116449" y="2353556"/>
            <a:chExt cx="1307459" cy="2144333"/>
          </a:xfrm>
        </p:grpSpPr>
        <p:sp>
          <p:nvSpPr>
            <p:cNvPr id="100" name="Shape">
              <a:extLst>
                <a:ext uri="{FF2B5EF4-FFF2-40B4-BE49-F238E27FC236}">
                  <a16:creationId xmlns:a16="http://schemas.microsoft.com/office/drawing/2014/main" id="{B20B593F-D201-CA1A-3886-406C304E5F4A}"/>
                </a:ext>
              </a:extLst>
            </p:cNvPr>
            <p:cNvSpPr/>
            <p:nvPr/>
          </p:nvSpPr>
          <p:spPr>
            <a:xfrm>
              <a:off x="1116449" y="2353556"/>
              <a:ext cx="1307459" cy="2144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39" extrusionOk="0">
                  <a:moveTo>
                    <a:pt x="21600" y="16703"/>
                  </a:moveTo>
                  <a:lnTo>
                    <a:pt x="4011" y="20812"/>
                  </a:lnTo>
                  <a:cubicBezTo>
                    <a:pt x="2080" y="21269"/>
                    <a:pt x="0" y="20426"/>
                    <a:pt x="0" y="19214"/>
                  </a:cubicBezTo>
                  <a:lnTo>
                    <a:pt x="0" y="1724"/>
                  </a:lnTo>
                  <a:cubicBezTo>
                    <a:pt x="0" y="512"/>
                    <a:pt x="2080" y="-331"/>
                    <a:pt x="4011" y="126"/>
                  </a:cubicBezTo>
                  <a:lnTo>
                    <a:pt x="21600" y="4235"/>
                  </a:lnTo>
                  <a:lnTo>
                    <a:pt x="21600" y="1670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54187" tIns="54187" rIns="54187" bIns="54187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4267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01" name="Freeform: Shape 28">
              <a:extLst>
                <a:ext uri="{FF2B5EF4-FFF2-40B4-BE49-F238E27FC236}">
                  <a16:creationId xmlns:a16="http://schemas.microsoft.com/office/drawing/2014/main" id="{0B19C7C3-DEB8-4A59-09A3-69CF392FBDC2}"/>
                </a:ext>
              </a:extLst>
            </p:cNvPr>
            <p:cNvSpPr/>
            <p:nvPr/>
          </p:nvSpPr>
          <p:spPr>
            <a:xfrm>
              <a:off x="2217420" y="2705645"/>
              <a:ext cx="206488" cy="1440053"/>
            </a:xfrm>
            <a:custGeom>
              <a:avLst/>
              <a:gdLst>
                <a:gd name="connsiteX0" fmla="*/ 0 w 206488"/>
                <a:gd name="connsiteY0" fmla="*/ 0 h 1440053"/>
                <a:gd name="connsiteX1" fmla="*/ 206488 w 206488"/>
                <a:gd name="connsiteY1" fmla="*/ 81611 h 1440053"/>
                <a:gd name="connsiteX2" fmla="*/ 206488 w 206488"/>
                <a:gd name="connsiteY2" fmla="*/ 1358441 h 1440053"/>
                <a:gd name="connsiteX3" fmla="*/ 0 w 206488"/>
                <a:gd name="connsiteY3" fmla="*/ 1440053 h 144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88" h="1440053">
                  <a:moveTo>
                    <a:pt x="0" y="0"/>
                  </a:moveTo>
                  <a:lnTo>
                    <a:pt x="206488" y="81611"/>
                  </a:lnTo>
                  <a:lnTo>
                    <a:pt x="206488" y="1358441"/>
                  </a:lnTo>
                  <a:lnTo>
                    <a:pt x="0" y="1440053"/>
                  </a:lnTo>
                  <a:close/>
                </a:path>
              </a:pathLst>
            </a:cu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120"/>
            </a:p>
          </p:txBody>
        </p:sp>
      </p:grpSp>
      <p:grpSp>
        <p:nvGrpSpPr>
          <p:cNvPr id="102" name="Group 3">
            <a:extLst>
              <a:ext uri="{FF2B5EF4-FFF2-40B4-BE49-F238E27FC236}">
                <a16:creationId xmlns:a16="http://schemas.microsoft.com/office/drawing/2014/main" id="{F666CA12-7495-22A9-9AF3-B718AF163369}"/>
              </a:ext>
            </a:extLst>
          </p:cNvPr>
          <p:cNvGrpSpPr/>
          <p:nvPr/>
        </p:nvGrpSpPr>
        <p:grpSpPr>
          <a:xfrm>
            <a:off x="7064700" y="2148433"/>
            <a:ext cx="3042262" cy="2681072"/>
            <a:chOff x="1116449" y="2353556"/>
            <a:chExt cx="1307459" cy="2144333"/>
          </a:xfrm>
        </p:grpSpPr>
        <p:sp>
          <p:nvSpPr>
            <p:cNvPr id="103" name="Shape">
              <a:extLst>
                <a:ext uri="{FF2B5EF4-FFF2-40B4-BE49-F238E27FC236}">
                  <a16:creationId xmlns:a16="http://schemas.microsoft.com/office/drawing/2014/main" id="{614EF5EA-760D-3442-6FFE-5111DCA2386B}"/>
                </a:ext>
              </a:extLst>
            </p:cNvPr>
            <p:cNvSpPr/>
            <p:nvPr/>
          </p:nvSpPr>
          <p:spPr>
            <a:xfrm>
              <a:off x="1116449" y="2353556"/>
              <a:ext cx="1307459" cy="2144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39" extrusionOk="0">
                  <a:moveTo>
                    <a:pt x="21600" y="16703"/>
                  </a:moveTo>
                  <a:lnTo>
                    <a:pt x="4011" y="20812"/>
                  </a:lnTo>
                  <a:cubicBezTo>
                    <a:pt x="2080" y="21269"/>
                    <a:pt x="0" y="20426"/>
                    <a:pt x="0" y="19214"/>
                  </a:cubicBezTo>
                  <a:lnTo>
                    <a:pt x="0" y="1724"/>
                  </a:lnTo>
                  <a:cubicBezTo>
                    <a:pt x="0" y="512"/>
                    <a:pt x="2080" y="-331"/>
                    <a:pt x="4011" y="126"/>
                  </a:cubicBezTo>
                  <a:lnTo>
                    <a:pt x="21600" y="4235"/>
                  </a:lnTo>
                  <a:lnTo>
                    <a:pt x="21600" y="16703"/>
                  </a:lnTo>
                  <a:close/>
                </a:path>
              </a:pathLst>
            </a:custGeom>
            <a:solidFill>
              <a:srgbClr val="C3B5FF"/>
            </a:solidFill>
            <a:ln w="12700">
              <a:miter lim="400000"/>
            </a:ln>
          </p:spPr>
          <p:txBody>
            <a:bodyPr lIns="54187" tIns="54187" rIns="54187" bIns="54187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4267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04" name="Freeform: Shape 28">
              <a:extLst>
                <a:ext uri="{FF2B5EF4-FFF2-40B4-BE49-F238E27FC236}">
                  <a16:creationId xmlns:a16="http://schemas.microsoft.com/office/drawing/2014/main" id="{9DD53268-F484-8FCE-DC46-0DE3946D902E}"/>
                </a:ext>
              </a:extLst>
            </p:cNvPr>
            <p:cNvSpPr/>
            <p:nvPr/>
          </p:nvSpPr>
          <p:spPr>
            <a:xfrm>
              <a:off x="2217420" y="2705645"/>
              <a:ext cx="206488" cy="1440053"/>
            </a:xfrm>
            <a:custGeom>
              <a:avLst/>
              <a:gdLst>
                <a:gd name="connsiteX0" fmla="*/ 0 w 206488"/>
                <a:gd name="connsiteY0" fmla="*/ 0 h 1440053"/>
                <a:gd name="connsiteX1" fmla="*/ 206488 w 206488"/>
                <a:gd name="connsiteY1" fmla="*/ 81611 h 1440053"/>
                <a:gd name="connsiteX2" fmla="*/ 206488 w 206488"/>
                <a:gd name="connsiteY2" fmla="*/ 1358441 h 1440053"/>
                <a:gd name="connsiteX3" fmla="*/ 0 w 206488"/>
                <a:gd name="connsiteY3" fmla="*/ 1440053 h 144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88" h="1440053">
                  <a:moveTo>
                    <a:pt x="0" y="0"/>
                  </a:moveTo>
                  <a:lnTo>
                    <a:pt x="206488" y="81611"/>
                  </a:lnTo>
                  <a:lnTo>
                    <a:pt x="206488" y="1358441"/>
                  </a:lnTo>
                  <a:lnTo>
                    <a:pt x="0" y="1440053"/>
                  </a:lnTo>
                  <a:close/>
                </a:path>
              </a:pathLst>
            </a:custGeom>
            <a:solidFill>
              <a:srgbClr val="694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120"/>
            </a:p>
          </p:txBody>
        </p:sp>
      </p:grpSp>
      <p:grpSp>
        <p:nvGrpSpPr>
          <p:cNvPr id="105" name="Group 3">
            <a:extLst>
              <a:ext uri="{FF2B5EF4-FFF2-40B4-BE49-F238E27FC236}">
                <a16:creationId xmlns:a16="http://schemas.microsoft.com/office/drawing/2014/main" id="{5A53772B-4A7C-C12B-198B-BA18583F638C}"/>
              </a:ext>
            </a:extLst>
          </p:cNvPr>
          <p:cNvGrpSpPr/>
          <p:nvPr/>
        </p:nvGrpSpPr>
        <p:grpSpPr>
          <a:xfrm>
            <a:off x="10318564" y="2148433"/>
            <a:ext cx="3042262" cy="2681072"/>
            <a:chOff x="1116449" y="2353556"/>
            <a:chExt cx="1307459" cy="2144333"/>
          </a:xfrm>
        </p:grpSpPr>
        <p:sp>
          <p:nvSpPr>
            <p:cNvPr id="106" name="Shape">
              <a:extLst>
                <a:ext uri="{FF2B5EF4-FFF2-40B4-BE49-F238E27FC236}">
                  <a16:creationId xmlns:a16="http://schemas.microsoft.com/office/drawing/2014/main" id="{E974E84A-934F-7D5B-8AE7-5E4D9E0DAB4F}"/>
                </a:ext>
              </a:extLst>
            </p:cNvPr>
            <p:cNvSpPr/>
            <p:nvPr/>
          </p:nvSpPr>
          <p:spPr>
            <a:xfrm>
              <a:off x="1116449" y="2353556"/>
              <a:ext cx="1307459" cy="2144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39" extrusionOk="0">
                  <a:moveTo>
                    <a:pt x="21600" y="16703"/>
                  </a:moveTo>
                  <a:lnTo>
                    <a:pt x="4011" y="20812"/>
                  </a:lnTo>
                  <a:cubicBezTo>
                    <a:pt x="2080" y="21269"/>
                    <a:pt x="0" y="20426"/>
                    <a:pt x="0" y="19214"/>
                  </a:cubicBezTo>
                  <a:lnTo>
                    <a:pt x="0" y="1724"/>
                  </a:lnTo>
                  <a:cubicBezTo>
                    <a:pt x="0" y="512"/>
                    <a:pt x="2080" y="-331"/>
                    <a:pt x="4011" y="126"/>
                  </a:cubicBezTo>
                  <a:lnTo>
                    <a:pt x="21600" y="4235"/>
                  </a:lnTo>
                  <a:lnTo>
                    <a:pt x="21600" y="16703"/>
                  </a:lnTo>
                  <a:close/>
                </a:path>
              </a:pathLst>
            </a:custGeom>
            <a:solidFill>
              <a:srgbClr val="34373B"/>
            </a:solidFill>
            <a:ln w="12700">
              <a:miter lim="400000"/>
            </a:ln>
          </p:spPr>
          <p:txBody>
            <a:bodyPr lIns="54187" tIns="54187" rIns="54187" bIns="54187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4267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07" name="Freeform: Shape 28">
              <a:extLst>
                <a:ext uri="{FF2B5EF4-FFF2-40B4-BE49-F238E27FC236}">
                  <a16:creationId xmlns:a16="http://schemas.microsoft.com/office/drawing/2014/main" id="{FAD3F085-3B76-C61E-F1FC-099A1E8964DF}"/>
                </a:ext>
              </a:extLst>
            </p:cNvPr>
            <p:cNvSpPr/>
            <p:nvPr/>
          </p:nvSpPr>
          <p:spPr>
            <a:xfrm>
              <a:off x="2217420" y="2705645"/>
              <a:ext cx="206488" cy="1440053"/>
            </a:xfrm>
            <a:custGeom>
              <a:avLst/>
              <a:gdLst>
                <a:gd name="connsiteX0" fmla="*/ 0 w 206488"/>
                <a:gd name="connsiteY0" fmla="*/ 0 h 1440053"/>
                <a:gd name="connsiteX1" fmla="*/ 206488 w 206488"/>
                <a:gd name="connsiteY1" fmla="*/ 81611 h 1440053"/>
                <a:gd name="connsiteX2" fmla="*/ 206488 w 206488"/>
                <a:gd name="connsiteY2" fmla="*/ 1358441 h 1440053"/>
                <a:gd name="connsiteX3" fmla="*/ 0 w 206488"/>
                <a:gd name="connsiteY3" fmla="*/ 1440053 h 144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88" h="1440053">
                  <a:moveTo>
                    <a:pt x="0" y="0"/>
                  </a:moveTo>
                  <a:lnTo>
                    <a:pt x="206488" y="81611"/>
                  </a:lnTo>
                  <a:lnTo>
                    <a:pt x="206488" y="1358441"/>
                  </a:lnTo>
                  <a:lnTo>
                    <a:pt x="0" y="1440053"/>
                  </a:lnTo>
                  <a:close/>
                </a:path>
              </a:pathLst>
            </a:cu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120"/>
            </a:p>
          </p:txBody>
        </p:sp>
      </p:grpSp>
      <p:grpSp>
        <p:nvGrpSpPr>
          <p:cNvPr id="108" name="Group 3">
            <a:extLst>
              <a:ext uri="{FF2B5EF4-FFF2-40B4-BE49-F238E27FC236}">
                <a16:creationId xmlns:a16="http://schemas.microsoft.com/office/drawing/2014/main" id="{2E68A675-D925-2645-D745-786B92AF4A02}"/>
              </a:ext>
            </a:extLst>
          </p:cNvPr>
          <p:cNvGrpSpPr/>
          <p:nvPr/>
        </p:nvGrpSpPr>
        <p:grpSpPr>
          <a:xfrm>
            <a:off x="13572427" y="2148433"/>
            <a:ext cx="3042262" cy="2681072"/>
            <a:chOff x="1116449" y="2353556"/>
            <a:chExt cx="1307459" cy="2144333"/>
          </a:xfrm>
        </p:grpSpPr>
        <p:sp>
          <p:nvSpPr>
            <p:cNvPr id="109" name="Shape">
              <a:extLst>
                <a:ext uri="{FF2B5EF4-FFF2-40B4-BE49-F238E27FC236}">
                  <a16:creationId xmlns:a16="http://schemas.microsoft.com/office/drawing/2014/main" id="{22152EAD-36DF-F10C-9D12-A09FB46C1BA4}"/>
                </a:ext>
              </a:extLst>
            </p:cNvPr>
            <p:cNvSpPr/>
            <p:nvPr/>
          </p:nvSpPr>
          <p:spPr>
            <a:xfrm>
              <a:off x="1116449" y="2353556"/>
              <a:ext cx="1307459" cy="2144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39" extrusionOk="0">
                  <a:moveTo>
                    <a:pt x="21600" y="16703"/>
                  </a:moveTo>
                  <a:lnTo>
                    <a:pt x="4011" y="20812"/>
                  </a:lnTo>
                  <a:cubicBezTo>
                    <a:pt x="2080" y="21269"/>
                    <a:pt x="0" y="20426"/>
                    <a:pt x="0" y="19214"/>
                  </a:cubicBezTo>
                  <a:lnTo>
                    <a:pt x="0" y="1724"/>
                  </a:lnTo>
                  <a:cubicBezTo>
                    <a:pt x="0" y="512"/>
                    <a:pt x="2080" y="-331"/>
                    <a:pt x="4011" y="126"/>
                  </a:cubicBezTo>
                  <a:lnTo>
                    <a:pt x="21600" y="4235"/>
                  </a:lnTo>
                  <a:lnTo>
                    <a:pt x="21600" y="16703"/>
                  </a:lnTo>
                  <a:close/>
                </a:path>
              </a:pathLst>
            </a:custGeom>
            <a:solidFill>
              <a:srgbClr val="8BA4B0"/>
            </a:solidFill>
            <a:ln w="12700">
              <a:miter lim="400000"/>
            </a:ln>
          </p:spPr>
          <p:txBody>
            <a:bodyPr lIns="54187" tIns="54187" rIns="54187" bIns="54187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4267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10" name="Freeform: Shape 28">
              <a:extLst>
                <a:ext uri="{FF2B5EF4-FFF2-40B4-BE49-F238E27FC236}">
                  <a16:creationId xmlns:a16="http://schemas.microsoft.com/office/drawing/2014/main" id="{6D97A9B6-036F-BCE0-DA0A-E3E5A7D9FB9D}"/>
                </a:ext>
              </a:extLst>
            </p:cNvPr>
            <p:cNvSpPr/>
            <p:nvPr/>
          </p:nvSpPr>
          <p:spPr>
            <a:xfrm>
              <a:off x="2217420" y="2705645"/>
              <a:ext cx="206488" cy="1440053"/>
            </a:xfrm>
            <a:custGeom>
              <a:avLst/>
              <a:gdLst>
                <a:gd name="connsiteX0" fmla="*/ 0 w 206488"/>
                <a:gd name="connsiteY0" fmla="*/ 0 h 1440053"/>
                <a:gd name="connsiteX1" fmla="*/ 206488 w 206488"/>
                <a:gd name="connsiteY1" fmla="*/ 81611 h 1440053"/>
                <a:gd name="connsiteX2" fmla="*/ 206488 w 206488"/>
                <a:gd name="connsiteY2" fmla="*/ 1358441 h 1440053"/>
                <a:gd name="connsiteX3" fmla="*/ 0 w 206488"/>
                <a:gd name="connsiteY3" fmla="*/ 1440053 h 144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88" h="1440053">
                  <a:moveTo>
                    <a:pt x="0" y="0"/>
                  </a:moveTo>
                  <a:lnTo>
                    <a:pt x="206488" y="81611"/>
                  </a:lnTo>
                  <a:lnTo>
                    <a:pt x="206488" y="1358441"/>
                  </a:lnTo>
                  <a:lnTo>
                    <a:pt x="0" y="1440053"/>
                  </a:lnTo>
                  <a:close/>
                </a:path>
              </a:pathLst>
            </a:cu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120"/>
            </a:p>
          </p:txBody>
        </p:sp>
      </p:grpSp>
      <p:sp>
        <p:nvSpPr>
          <p:cNvPr id="111" name="TextBox 11">
            <a:extLst>
              <a:ext uri="{FF2B5EF4-FFF2-40B4-BE49-F238E27FC236}">
                <a16:creationId xmlns:a16="http://schemas.microsoft.com/office/drawing/2014/main" id="{6367515C-7AD3-87DD-ADC8-B042AB327DDD}"/>
              </a:ext>
            </a:extLst>
          </p:cNvPr>
          <p:cNvSpPr txBox="1"/>
          <p:nvPr/>
        </p:nvSpPr>
        <p:spPr>
          <a:xfrm>
            <a:off x="776358" y="3277432"/>
            <a:ext cx="2206224" cy="92591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b="1" noProof="1">
                <a:solidFill>
                  <a:schemeClr val="bg1"/>
                </a:solidFill>
              </a:rPr>
              <a:t>Eco railway proposals</a:t>
            </a:r>
          </a:p>
        </p:txBody>
      </p:sp>
      <p:sp>
        <p:nvSpPr>
          <p:cNvPr id="112" name="TextBox 11">
            <a:extLst>
              <a:ext uri="{FF2B5EF4-FFF2-40B4-BE49-F238E27FC236}">
                <a16:creationId xmlns:a16="http://schemas.microsoft.com/office/drawing/2014/main" id="{2605136C-E737-C25E-65E1-D07A572694DE}"/>
              </a:ext>
            </a:extLst>
          </p:cNvPr>
          <p:cNvSpPr txBox="1"/>
          <p:nvPr/>
        </p:nvSpPr>
        <p:spPr>
          <a:xfrm>
            <a:off x="4014958" y="3484629"/>
            <a:ext cx="2206224" cy="51151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b="1" noProof="1">
                <a:solidFill>
                  <a:schemeClr val="bg1"/>
                </a:solidFill>
              </a:rPr>
              <a:t>Digitalization</a:t>
            </a:r>
          </a:p>
        </p:txBody>
      </p:sp>
      <p:sp>
        <p:nvSpPr>
          <p:cNvPr id="113" name="TextBox 11">
            <a:extLst>
              <a:ext uri="{FF2B5EF4-FFF2-40B4-BE49-F238E27FC236}">
                <a16:creationId xmlns:a16="http://schemas.microsoft.com/office/drawing/2014/main" id="{E4FCFA9A-E82F-DB61-2585-8476D9A42D1E}"/>
              </a:ext>
            </a:extLst>
          </p:cNvPr>
          <p:cNvSpPr txBox="1"/>
          <p:nvPr/>
        </p:nvSpPr>
        <p:spPr>
          <a:xfrm>
            <a:off x="7253558" y="3484629"/>
            <a:ext cx="2206224" cy="51151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b="1" noProof="1"/>
              <a:t>Intermodality</a:t>
            </a:r>
          </a:p>
        </p:txBody>
      </p:sp>
      <p:sp>
        <p:nvSpPr>
          <p:cNvPr id="114" name="TextBox 11">
            <a:extLst>
              <a:ext uri="{FF2B5EF4-FFF2-40B4-BE49-F238E27FC236}">
                <a16:creationId xmlns:a16="http://schemas.microsoft.com/office/drawing/2014/main" id="{01386F11-9BFB-56F6-C4D2-874F98D1163C}"/>
              </a:ext>
            </a:extLst>
          </p:cNvPr>
          <p:cNvSpPr txBox="1"/>
          <p:nvPr/>
        </p:nvSpPr>
        <p:spPr>
          <a:xfrm>
            <a:off x="10492158" y="3277432"/>
            <a:ext cx="2206224" cy="92591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b="1" noProof="1">
                <a:solidFill>
                  <a:schemeClr val="bg1"/>
                </a:solidFill>
              </a:rPr>
              <a:t>Talent attraction</a:t>
            </a:r>
          </a:p>
        </p:txBody>
      </p:sp>
      <p:sp>
        <p:nvSpPr>
          <p:cNvPr id="115" name="TextBox 11">
            <a:extLst>
              <a:ext uri="{FF2B5EF4-FFF2-40B4-BE49-F238E27FC236}">
                <a16:creationId xmlns:a16="http://schemas.microsoft.com/office/drawing/2014/main" id="{9894639E-93E4-A8AD-FFDE-C5C0CE14860D}"/>
              </a:ext>
            </a:extLst>
          </p:cNvPr>
          <p:cNvSpPr txBox="1"/>
          <p:nvPr/>
        </p:nvSpPr>
        <p:spPr>
          <a:xfrm>
            <a:off x="13730758" y="3300267"/>
            <a:ext cx="2206224" cy="88024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b="1" noProof="1">
                <a:solidFill>
                  <a:schemeClr val="bg1"/>
                </a:solidFill>
              </a:rPr>
              <a:t>Passsenger experience</a:t>
            </a:r>
          </a:p>
        </p:txBody>
      </p:sp>
      <p:sp>
        <p:nvSpPr>
          <p:cNvPr id="116" name="TextBox 20">
            <a:extLst>
              <a:ext uri="{FF2B5EF4-FFF2-40B4-BE49-F238E27FC236}">
                <a16:creationId xmlns:a16="http://schemas.microsoft.com/office/drawing/2014/main" id="{652F4C85-CFE0-9D2B-0D91-23836B24D1D4}"/>
              </a:ext>
            </a:extLst>
          </p:cNvPr>
          <p:cNvSpPr txBox="1"/>
          <p:nvPr/>
        </p:nvSpPr>
        <p:spPr>
          <a:xfrm>
            <a:off x="556972" y="5105760"/>
            <a:ext cx="3042262" cy="3139321"/>
          </a:xfrm>
          <a:prstGeom prst="rect">
            <a:avLst/>
          </a:prstGeom>
          <a:noFill/>
        </p:spPr>
        <p:txBody>
          <a:bodyPr wrap="square" lIns="72000" rIns="0" rtlCol="0" anchor="t">
            <a:spAutoFit/>
          </a:bodyPr>
          <a:lstStyle/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Use of renewbale energies in facilities and in commercial operation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New manufacturing methods for environmentally friendly cement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Eco-efficient traffic monitoring and driving management system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Energy recovery braking system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Fast charging at tram stations with battery systems on board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Catenary-free tram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Hydrogen train</a:t>
            </a:r>
          </a:p>
        </p:txBody>
      </p:sp>
      <p:sp>
        <p:nvSpPr>
          <p:cNvPr id="117" name="TextBox 20">
            <a:extLst>
              <a:ext uri="{FF2B5EF4-FFF2-40B4-BE49-F238E27FC236}">
                <a16:creationId xmlns:a16="http://schemas.microsoft.com/office/drawing/2014/main" id="{D2785BE7-C0AB-4C0F-A2EF-B477FBFE6E1D}"/>
              </a:ext>
            </a:extLst>
          </p:cNvPr>
          <p:cNvSpPr txBox="1"/>
          <p:nvPr/>
        </p:nvSpPr>
        <p:spPr>
          <a:xfrm>
            <a:off x="3810836" y="5105760"/>
            <a:ext cx="3042262" cy="3862596"/>
          </a:xfrm>
          <a:prstGeom prst="rect">
            <a:avLst/>
          </a:prstGeom>
          <a:noFill/>
        </p:spPr>
        <p:txBody>
          <a:bodyPr wrap="square" lIns="72000" rIns="0" rtlCol="0" anchor="t">
            <a:spAutoFit/>
          </a:bodyPr>
          <a:lstStyle/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Infrastructure digitalization through BIM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Smart railway station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Flexible automatic driving system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Automatic protection and operation systems 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Energy Management Systems (EMS) to reduce on-board energy consumption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Fleet systems to optimize energy consumption management and control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AI for predictive maintenance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IoT hardware platforms to integrate all on-board equipment</a:t>
            </a:r>
          </a:p>
        </p:txBody>
      </p:sp>
      <p:sp>
        <p:nvSpPr>
          <p:cNvPr id="118" name="TextBox 20">
            <a:extLst>
              <a:ext uri="{FF2B5EF4-FFF2-40B4-BE49-F238E27FC236}">
                <a16:creationId xmlns:a16="http://schemas.microsoft.com/office/drawing/2014/main" id="{B2C7B2B0-4538-381A-2D3A-F0F78C5128EF}"/>
              </a:ext>
            </a:extLst>
          </p:cNvPr>
          <p:cNvSpPr txBox="1"/>
          <p:nvPr/>
        </p:nvSpPr>
        <p:spPr>
          <a:xfrm>
            <a:off x="7064700" y="5105760"/>
            <a:ext cx="3042262" cy="1323439"/>
          </a:xfrm>
          <a:prstGeom prst="rect">
            <a:avLst/>
          </a:prstGeom>
          <a:noFill/>
        </p:spPr>
        <p:txBody>
          <a:bodyPr wrap="square" lIns="72000" rIns="0" rtlCol="0" anchor="t">
            <a:spAutoFit/>
          </a:bodyPr>
          <a:lstStyle/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Railway connections to ports 4.0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Systems for the traceability of good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Solutions for a connected intermodal transport</a:t>
            </a:r>
          </a:p>
        </p:txBody>
      </p:sp>
      <p:sp>
        <p:nvSpPr>
          <p:cNvPr id="119" name="TextBox 20">
            <a:extLst>
              <a:ext uri="{FF2B5EF4-FFF2-40B4-BE49-F238E27FC236}">
                <a16:creationId xmlns:a16="http://schemas.microsoft.com/office/drawing/2014/main" id="{FFDE1839-5ECC-F07C-F128-AAD2BB68ECC8}"/>
              </a:ext>
            </a:extLst>
          </p:cNvPr>
          <p:cNvSpPr txBox="1"/>
          <p:nvPr/>
        </p:nvSpPr>
        <p:spPr>
          <a:xfrm>
            <a:off x="10318564" y="5105760"/>
            <a:ext cx="3042262" cy="1538883"/>
          </a:xfrm>
          <a:prstGeom prst="rect">
            <a:avLst/>
          </a:prstGeom>
          <a:noFill/>
        </p:spPr>
        <p:txBody>
          <a:bodyPr wrap="square" lIns="72000" rIns="0" rtlCol="0" anchor="t">
            <a:spAutoFit/>
          </a:bodyPr>
          <a:lstStyle/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Wide variety of specialized railway training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Official Master degrees in railway engineering, BIM and numerous other discipline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Career development plans</a:t>
            </a:r>
          </a:p>
        </p:txBody>
      </p:sp>
      <p:sp>
        <p:nvSpPr>
          <p:cNvPr id="120" name="TextBox 20">
            <a:extLst>
              <a:ext uri="{FF2B5EF4-FFF2-40B4-BE49-F238E27FC236}">
                <a16:creationId xmlns:a16="http://schemas.microsoft.com/office/drawing/2014/main" id="{255A35C2-B89F-FBB2-4E73-4F392D6F918F}"/>
              </a:ext>
            </a:extLst>
          </p:cNvPr>
          <p:cNvSpPr txBox="1"/>
          <p:nvPr/>
        </p:nvSpPr>
        <p:spPr>
          <a:xfrm>
            <a:off x="13572427" y="5105760"/>
            <a:ext cx="3042262" cy="2339102"/>
          </a:xfrm>
          <a:prstGeom prst="rect">
            <a:avLst/>
          </a:prstGeom>
          <a:noFill/>
        </p:spPr>
        <p:txBody>
          <a:bodyPr wrap="square" lIns="72000" rIns="0" rtlCol="0" anchor="t">
            <a:spAutoFit/>
          </a:bodyPr>
          <a:lstStyle/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Centralized operating and planning system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Preventive access control system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Real-time information on infrastructure and train occupancy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Intelligent passenger density solutions</a:t>
            </a:r>
          </a:p>
          <a:p>
            <a:pPr marL="174625" indent="-1746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noProof="1">
                <a:solidFill>
                  <a:schemeClr val="tx1"/>
                </a:solidFill>
              </a:rPr>
              <a:t>Contactless electronic ticketing and payment methods</a:t>
            </a:r>
          </a:p>
        </p:txBody>
      </p:sp>
      <p:cxnSp>
        <p:nvCxnSpPr>
          <p:cNvPr id="121" name="22 Conector recto">
            <a:extLst>
              <a:ext uri="{FF2B5EF4-FFF2-40B4-BE49-F238E27FC236}">
                <a16:creationId xmlns:a16="http://schemas.microsoft.com/office/drawing/2014/main" id="{C37669CC-157C-C1EA-1AF3-EC3C4CBBF938}"/>
              </a:ext>
            </a:extLst>
          </p:cNvPr>
          <p:cNvCxnSpPr/>
          <p:nvPr/>
        </p:nvCxnSpPr>
        <p:spPr>
          <a:xfrm>
            <a:off x="3664320" y="4948428"/>
            <a:ext cx="0" cy="3420000"/>
          </a:xfrm>
          <a:prstGeom prst="line">
            <a:avLst/>
          </a:prstGeom>
          <a:noFill/>
          <a:ln w="9525" cap="flat" cmpd="sng" algn="ctr">
            <a:gradFill>
              <a:gsLst>
                <a:gs pos="17000">
                  <a:srgbClr val="BFC9C9"/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/>
        </p:spPr>
      </p:cxnSp>
      <p:cxnSp>
        <p:nvCxnSpPr>
          <p:cNvPr id="122" name="22 Conector recto">
            <a:extLst>
              <a:ext uri="{FF2B5EF4-FFF2-40B4-BE49-F238E27FC236}">
                <a16:creationId xmlns:a16="http://schemas.microsoft.com/office/drawing/2014/main" id="{1350F839-824F-3A01-3AE1-52C90D9416D7}"/>
              </a:ext>
            </a:extLst>
          </p:cNvPr>
          <p:cNvCxnSpPr/>
          <p:nvPr/>
        </p:nvCxnSpPr>
        <p:spPr>
          <a:xfrm>
            <a:off x="6928112" y="4948428"/>
            <a:ext cx="0" cy="3420000"/>
          </a:xfrm>
          <a:prstGeom prst="line">
            <a:avLst/>
          </a:prstGeom>
          <a:noFill/>
          <a:ln w="9525" cap="flat" cmpd="sng" algn="ctr">
            <a:gradFill>
              <a:gsLst>
                <a:gs pos="17000">
                  <a:srgbClr val="BFC9C9"/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/>
        </p:spPr>
      </p:cxnSp>
      <p:cxnSp>
        <p:nvCxnSpPr>
          <p:cNvPr id="139" name="22 Conector recto">
            <a:extLst>
              <a:ext uri="{FF2B5EF4-FFF2-40B4-BE49-F238E27FC236}">
                <a16:creationId xmlns:a16="http://schemas.microsoft.com/office/drawing/2014/main" id="{927A9856-2916-7817-85BF-3BABE0031F55}"/>
              </a:ext>
            </a:extLst>
          </p:cNvPr>
          <p:cNvCxnSpPr/>
          <p:nvPr/>
        </p:nvCxnSpPr>
        <p:spPr>
          <a:xfrm>
            <a:off x="10191904" y="4948428"/>
            <a:ext cx="0" cy="3420000"/>
          </a:xfrm>
          <a:prstGeom prst="line">
            <a:avLst/>
          </a:prstGeom>
          <a:noFill/>
          <a:ln w="9525" cap="flat" cmpd="sng" algn="ctr">
            <a:gradFill>
              <a:gsLst>
                <a:gs pos="17000">
                  <a:srgbClr val="BFC9C9"/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/>
        </p:spPr>
      </p:cxnSp>
      <p:cxnSp>
        <p:nvCxnSpPr>
          <p:cNvPr id="140" name="22 Conector recto">
            <a:extLst>
              <a:ext uri="{FF2B5EF4-FFF2-40B4-BE49-F238E27FC236}">
                <a16:creationId xmlns:a16="http://schemas.microsoft.com/office/drawing/2014/main" id="{986B166C-3CF4-C8B3-3ECF-CF1DD5F3DB9D}"/>
              </a:ext>
            </a:extLst>
          </p:cNvPr>
          <p:cNvCxnSpPr/>
          <p:nvPr/>
        </p:nvCxnSpPr>
        <p:spPr>
          <a:xfrm>
            <a:off x="13455697" y="4948428"/>
            <a:ext cx="0" cy="3420000"/>
          </a:xfrm>
          <a:prstGeom prst="line">
            <a:avLst/>
          </a:prstGeom>
          <a:noFill/>
          <a:ln w="9525" cap="flat" cmpd="sng" algn="ctr">
            <a:gradFill>
              <a:gsLst>
                <a:gs pos="17000">
                  <a:srgbClr val="BFC9C9"/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/>
        </p:spPr>
      </p:cxnSp>
      <p:sp>
        <p:nvSpPr>
          <p:cNvPr id="141" name="Elipse 140">
            <a:extLst>
              <a:ext uri="{FF2B5EF4-FFF2-40B4-BE49-F238E27FC236}">
                <a16:creationId xmlns:a16="http://schemas.microsoft.com/office/drawing/2014/main" id="{34C81C91-76FC-D68A-5269-7ADB9D583FB8}"/>
              </a:ext>
            </a:extLst>
          </p:cNvPr>
          <p:cNvSpPr/>
          <p:nvPr/>
        </p:nvSpPr>
        <p:spPr>
          <a:xfrm>
            <a:off x="720168" y="2350297"/>
            <a:ext cx="864000" cy="864000"/>
          </a:xfrm>
          <a:prstGeom prst="ellipse">
            <a:avLst/>
          </a:prstGeom>
          <a:solidFill>
            <a:schemeClr val="bg1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rtlCol="0" anchor="ctr">
            <a:noAutofit/>
          </a:bodyPr>
          <a:lstStyle/>
          <a:p>
            <a:pPr algn="ctr"/>
            <a:endParaRPr lang="es-E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2" name="Imagen 141">
            <a:extLst>
              <a:ext uri="{FF2B5EF4-FFF2-40B4-BE49-F238E27FC236}">
                <a16:creationId xmlns:a16="http://schemas.microsoft.com/office/drawing/2014/main" id="{9C526406-0373-9041-D899-0D30C7077C0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6606" y="2520559"/>
            <a:ext cx="555575" cy="540000"/>
          </a:xfrm>
          <a:prstGeom prst="rect">
            <a:avLst/>
          </a:prstGeom>
        </p:spPr>
      </p:pic>
      <p:sp>
        <p:nvSpPr>
          <p:cNvPr id="143" name="Elipse 142">
            <a:extLst>
              <a:ext uri="{FF2B5EF4-FFF2-40B4-BE49-F238E27FC236}">
                <a16:creationId xmlns:a16="http://schemas.microsoft.com/office/drawing/2014/main" id="{A0E8C4AA-15E2-5578-FC53-AE2DBD146BAF}"/>
              </a:ext>
            </a:extLst>
          </p:cNvPr>
          <p:cNvSpPr/>
          <p:nvPr/>
        </p:nvSpPr>
        <p:spPr>
          <a:xfrm>
            <a:off x="3969327" y="2350297"/>
            <a:ext cx="864000" cy="864000"/>
          </a:xfrm>
          <a:prstGeom prst="ellipse">
            <a:avLst/>
          </a:prstGeom>
          <a:solidFill>
            <a:schemeClr val="bg1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rtlCol="0" anchor="ctr">
            <a:noAutofit/>
          </a:bodyPr>
          <a:lstStyle/>
          <a:p>
            <a:pPr algn="ctr"/>
            <a:endParaRPr lang="es-E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Elipse 143">
            <a:extLst>
              <a:ext uri="{FF2B5EF4-FFF2-40B4-BE49-F238E27FC236}">
                <a16:creationId xmlns:a16="http://schemas.microsoft.com/office/drawing/2014/main" id="{544BDCA3-17A4-17CF-967B-7361833E34F0}"/>
              </a:ext>
            </a:extLst>
          </p:cNvPr>
          <p:cNvSpPr/>
          <p:nvPr/>
        </p:nvSpPr>
        <p:spPr>
          <a:xfrm>
            <a:off x="7218486" y="2350297"/>
            <a:ext cx="864000" cy="864000"/>
          </a:xfrm>
          <a:prstGeom prst="ellipse">
            <a:avLst/>
          </a:prstGeom>
          <a:solidFill>
            <a:schemeClr val="bg1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rtlCol="0" anchor="ctr">
            <a:noAutofit/>
          </a:bodyPr>
          <a:lstStyle/>
          <a:p>
            <a:pPr algn="ctr"/>
            <a:endParaRPr lang="es-E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Elipse 144">
            <a:extLst>
              <a:ext uri="{FF2B5EF4-FFF2-40B4-BE49-F238E27FC236}">
                <a16:creationId xmlns:a16="http://schemas.microsoft.com/office/drawing/2014/main" id="{FC6BE3E4-F44B-857D-51AD-7ECB7D0FB73F}"/>
              </a:ext>
            </a:extLst>
          </p:cNvPr>
          <p:cNvSpPr/>
          <p:nvPr/>
        </p:nvSpPr>
        <p:spPr>
          <a:xfrm>
            <a:off x="10467645" y="2350297"/>
            <a:ext cx="864000" cy="864000"/>
          </a:xfrm>
          <a:prstGeom prst="ellipse">
            <a:avLst/>
          </a:prstGeom>
          <a:solidFill>
            <a:schemeClr val="bg1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rtlCol="0" anchor="ctr">
            <a:noAutofit/>
          </a:bodyPr>
          <a:lstStyle/>
          <a:p>
            <a:pPr algn="ctr"/>
            <a:endParaRPr lang="es-E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Elipse 145">
            <a:extLst>
              <a:ext uri="{FF2B5EF4-FFF2-40B4-BE49-F238E27FC236}">
                <a16:creationId xmlns:a16="http://schemas.microsoft.com/office/drawing/2014/main" id="{6DADA5B1-C07C-35FB-106D-A44D60315871}"/>
              </a:ext>
            </a:extLst>
          </p:cNvPr>
          <p:cNvSpPr/>
          <p:nvPr/>
        </p:nvSpPr>
        <p:spPr>
          <a:xfrm>
            <a:off x="13716803" y="2350297"/>
            <a:ext cx="864000" cy="864000"/>
          </a:xfrm>
          <a:prstGeom prst="ellipse">
            <a:avLst/>
          </a:prstGeom>
          <a:solidFill>
            <a:schemeClr val="bg1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rtlCol="0" anchor="ctr">
            <a:noAutofit/>
          </a:bodyPr>
          <a:lstStyle/>
          <a:p>
            <a:pPr algn="ctr"/>
            <a:endParaRPr lang="es-E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7" name="Imagen 146">
            <a:extLst>
              <a:ext uri="{FF2B5EF4-FFF2-40B4-BE49-F238E27FC236}">
                <a16:creationId xmlns:a16="http://schemas.microsoft.com/office/drawing/2014/main" id="{8CEC6763-A6E8-B950-E19B-312B1E5201F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093292" y="2482312"/>
            <a:ext cx="570901" cy="576000"/>
          </a:xfrm>
          <a:prstGeom prst="rect">
            <a:avLst/>
          </a:prstGeom>
        </p:spPr>
      </p:pic>
      <p:grpSp>
        <p:nvGrpSpPr>
          <p:cNvPr id="148" name="Grupo 147">
            <a:extLst>
              <a:ext uri="{FF2B5EF4-FFF2-40B4-BE49-F238E27FC236}">
                <a16:creationId xmlns:a16="http://schemas.microsoft.com/office/drawing/2014/main" id="{28D4548B-5219-B806-2F75-0D0A2C793D25}"/>
              </a:ext>
            </a:extLst>
          </p:cNvPr>
          <p:cNvGrpSpPr>
            <a:grpSpLocks noChangeAspect="1"/>
          </p:cNvGrpSpPr>
          <p:nvPr/>
        </p:nvGrpSpPr>
        <p:grpSpPr>
          <a:xfrm>
            <a:off x="7299385" y="2472592"/>
            <a:ext cx="678221" cy="537500"/>
            <a:chOff x="7425375" y="2213869"/>
            <a:chExt cx="480788" cy="381032"/>
          </a:xfrm>
        </p:grpSpPr>
        <p:pic>
          <p:nvPicPr>
            <p:cNvPr id="149" name="Picture 11">
              <a:extLst>
                <a:ext uri="{FF2B5EF4-FFF2-40B4-BE49-F238E27FC236}">
                  <a16:creationId xmlns:a16="http://schemas.microsoft.com/office/drawing/2014/main" id="{0BB2E626-4DBA-8C9E-C1A0-BF6E6F942D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5375" y="2481213"/>
              <a:ext cx="249794" cy="1080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0" name="Picture 14">
              <a:extLst>
                <a:ext uri="{FF2B5EF4-FFF2-40B4-BE49-F238E27FC236}">
                  <a16:creationId xmlns:a16="http://schemas.microsoft.com/office/drawing/2014/main" id="{D69B72C1-193A-ED69-1F8C-80AF811F79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2609" y="2213869"/>
              <a:ext cx="168225" cy="22047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1" name="Picture 6">
              <a:extLst>
                <a:ext uri="{FF2B5EF4-FFF2-40B4-BE49-F238E27FC236}">
                  <a16:creationId xmlns:a16="http://schemas.microsoft.com/office/drawing/2014/main" id="{F671278A-B724-00E3-9429-71EDDE852F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1182" y="2493176"/>
              <a:ext cx="184981" cy="1017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52" name="Picture 2">
            <a:extLst>
              <a:ext uri="{FF2B5EF4-FFF2-40B4-BE49-F238E27FC236}">
                <a16:creationId xmlns:a16="http://schemas.microsoft.com/office/drawing/2014/main" id="{5BF1676E-DF40-DCF1-7CEB-36E2D033F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242" y="2587351"/>
            <a:ext cx="483989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4" name="Picture 14">
            <a:extLst>
              <a:ext uri="{FF2B5EF4-FFF2-40B4-BE49-F238E27FC236}">
                <a16:creationId xmlns:a16="http://schemas.microsoft.com/office/drawing/2014/main" id="{37E66630-865A-1FF3-39CD-FEF188607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3353" y="2535242"/>
            <a:ext cx="390081" cy="4960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1020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theme/theme1.xml><?xml version="1.0" encoding="utf-8"?>
<a:theme xmlns:a="http://schemas.openxmlformats.org/drawingml/2006/main" name="MAFEX 2024">
  <a:themeElements>
    <a:clrScheme name="MAFEX 202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FF"/>
      </a:accent1>
      <a:accent2>
        <a:srgbClr val="6947FF"/>
      </a:accent2>
      <a:accent3>
        <a:srgbClr val="8BA4B0"/>
      </a:accent3>
      <a:accent4>
        <a:srgbClr val="323E4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FEX 2024" id="{94970561-3D05-47D7-A3C3-87FFAF67DE27}" vid="{C53666C7-D7B6-455A-9ED6-9751D0FBA70B}"/>
    </a:ext>
  </a:extLst>
</a:theme>
</file>

<file path=ppt/theme/theme2.xml><?xml version="1.0" encoding="utf-8"?>
<a:theme xmlns:a="http://schemas.openxmlformats.org/drawingml/2006/main" name="2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</a:spPr>
      <a:bodyPr rtlCol="0" anchor="t"/>
      <a:lstStyle>
        <a:defPPr>
          <a:defRPr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78DF634F7763B4B8170DEC38A2FCF81" ma:contentTypeVersion="18" ma:contentTypeDescription="Crear nuevo documento." ma:contentTypeScope="" ma:versionID="59b81db378e162c7de4bbddda9558292">
  <xsd:schema xmlns:xsd="http://www.w3.org/2001/XMLSchema" xmlns:xs="http://www.w3.org/2001/XMLSchema" xmlns:p="http://schemas.microsoft.com/office/2006/metadata/properties" xmlns:ns2="8789da0e-5b04-4c0f-806e-c63156899ea1" xmlns:ns3="b398a9c6-cf82-46c3-a8e8-ae8df3f8c2a4" targetNamespace="http://schemas.microsoft.com/office/2006/metadata/properties" ma:root="true" ma:fieldsID="6d331e6963e4dc6edb3de50e32e40521" ns2:_="" ns3:_="">
    <xsd:import namespace="8789da0e-5b04-4c0f-806e-c63156899ea1"/>
    <xsd:import namespace="b398a9c6-cf82-46c3-a8e8-ae8df3f8c2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89da0e-5b04-4c0f-806e-c63156899e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5efd410f-9b60-4810-9113-67cc80f998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98a9c6-cf82-46c3-a8e8-ae8df3f8c2a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ab9eab-1392-44f0-9ec7-282b222d1c99}" ma:internalName="TaxCatchAll" ma:showField="CatchAllData" ma:web="b398a9c6-cf82-46c3-a8e8-ae8df3f8c2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398a9c6-cf82-46c3-a8e8-ae8df3f8c2a4" xsi:nil="true"/>
    <lcf76f155ced4ddcb4097134ff3c332f xmlns="8789da0e-5b04-4c0f-806e-c63156899ea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7977066-C69F-46A9-8BED-9EDF94D35F85}"/>
</file>

<file path=customXml/itemProps2.xml><?xml version="1.0" encoding="utf-8"?>
<ds:datastoreItem xmlns:ds="http://schemas.openxmlformats.org/officeDocument/2006/customXml" ds:itemID="{2E3594A5-A53A-4A58-A21A-E7030BA42422}"/>
</file>

<file path=customXml/itemProps3.xml><?xml version="1.0" encoding="utf-8"?>
<ds:datastoreItem xmlns:ds="http://schemas.openxmlformats.org/officeDocument/2006/customXml" ds:itemID="{500DF21D-0F2F-4D19-BAFB-3AB6ED88EC3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30</TotalTime>
  <Words>666</Words>
  <Application>Microsoft Office PowerPoint</Application>
  <PresentationFormat>Personalizado</PresentationFormat>
  <Paragraphs>157</Paragraphs>
  <Slides>12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2</vt:i4>
      </vt:variant>
    </vt:vector>
  </HeadingPairs>
  <TitlesOfParts>
    <vt:vector size="22" baseType="lpstr">
      <vt:lpstr>Arial</vt:lpstr>
      <vt:lpstr>Calibri</vt:lpstr>
      <vt:lpstr>Helvetica Neue</vt:lpstr>
      <vt:lpstr>Playfair Display</vt:lpstr>
      <vt:lpstr>Soho Gothic Pro</vt:lpstr>
      <vt:lpstr>Soho Gothic Pro Light</vt:lpstr>
      <vt:lpstr>MAFEX 2024</vt:lpstr>
      <vt:lpstr>2_Portadas</vt:lpstr>
      <vt:lpstr>think-cell Slid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itor@mafex.es</dc:creator>
  <cp:lastModifiedBy>luis fernandez Guerrero</cp:lastModifiedBy>
  <cp:revision>229</cp:revision>
  <cp:lastPrinted>2017-12-14T09:05:04Z</cp:lastPrinted>
  <dcterms:modified xsi:type="dcterms:W3CDTF">2024-11-18T16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8DF634F7763B4B8170DEC38A2FCF81</vt:lpwstr>
  </property>
  <property fmtid="{D5CDD505-2E9C-101B-9397-08002B2CF9AE}" pid="3" name="MediaServiceImageTags">
    <vt:lpwstr/>
  </property>
</Properties>
</file>